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134807221" r:id="rId5"/>
    <p:sldId id="2134807186" r:id="rId6"/>
    <p:sldId id="2134807243" r:id="rId7"/>
    <p:sldId id="2134807239" r:id="rId8"/>
    <p:sldId id="2134807247" r:id="rId9"/>
    <p:sldId id="2134807249" r:id="rId10"/>
    <p:sldId id="2134807232" r:id="rId11"/>
    <p:sldId id="2134807257" r:id="rId12"/>
    <p:sldId id="2134807255" r:id="rId13"/>
    <p:sldId id="2147483632" r:id="rId14"/>
    <p:sldId id="2134807253" r:id="rId15"/>
    <p:sldId id="2134807223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mith, Meagan {PEP}" initials="SM{" lastIdx="26" clrIdx="0">
    <p:extLst>
      <p:ext uri="{19B8F6BF-5375-455C-9EA6-DF929625EA0E}">
        <p15:presenceInfo xmlns:p15="http://schemas.microsoft.com/office/powerpoint/2012/main" userId="S::Meagan.Smith@pepsico.com::330715a8-4d2f-4e72-b189-3d9c3c36dd13" providerId="AD"/>
      </p:ext>
    </p:extLst>
  </p:cmAuthor>
  <p:cmAuthor id="2" name="Kim, Wooyoung - Contractor {PEP}" initials="KW-C{" lastIdx="2" clrIdx="1">
    <p:extLst>
      <p:ext uri="{19B8F6BF-5375-455C-9EA6-DF929625EA0E}">
        <p15:presenceInfo xmlns:p15="http://schemas.microsoft.com/office/powerpoint/2012/main" userId="S::wooyoung.kim.contractor@pepsico.com::90e0b37e-577e-4be9-a5f4-d14d4d592b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3DCF"/>
    <a:srgbClr val="00A651"/>
    <a:srgbClr val="00A552"/>
    <a:srgbClr val="0052DB"/>
    <a:srgbClr val="FEC526"/>
    <a:srgbClr val="00A550"/>
    <a:srgbClr val="0066E7"/>
    <a:srgbClr val="05A64F"/>
    <a:srgbClr val="00A751"/>
    <a:srgbClr val="02A7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E5E6530-A299-D811-3EA2-4E1B26461DE1}" v="291" dt="2025-04-21T11:26:51.833"/>
    <p1510:client id="{7C9853EA-3038-58C8-9C24-36F0DEF37798}" v="59" dt="2025-04-21T06:10:02.977"/>
    <p1510:client id="{9596EF31-6B00-068D-0CA5-4639F271E7E6}" v="391" dt="2025-04-21T09:24:34.967"/>
    <p1510:client id="{A174E054-9478-8BCB-E046-14CC982CC935}" v="858" dt="2025-04-21T13:37:42.012"/>
    <p1510:client id="{B2CDFAF2-AEFE-4681-9D92-8333F843A2C6}" v="170" dt="2025-04-21T12:21:10.820"/>
    <p1510:client id="{DDF370BC-D582-AF29-B40D-A52CE9A4355E}" v="429" dt="2025-04-21T10:42:22.522"/>
    <p1510:client id="{E94F6D16-FA95-EF8E-336C-A4F7CC53B4CB}" v="2" dt="2025-04-21T11:56:07.866"/>
  </p1510:revLst>
</p1510:revInfo>
</file>

<file path=ppt/tableStyles.xml><?xml version="1.0" encoding="utf-8"?>
<a:tblStyleLst xmlns:a="http://schemas.openxmlformats.org/drawingml/2006/main" def="{5C22544A-7EE6-4342-B048-85BDC9FD1C3A}"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733"/>
  </p:normalViewPr>
  <p:slideViewPr>
    <p:cSldViewPr snapToGrid="0">
      <p:cViewPr varScale="1">
        <p:scale>
          <a:sx n="104" d="100"/>
          <a:sy n="104" d="100"/>
        </p:scale>
        <p:origin x="80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E21223-66CE-4215-A63F-27079EE36F6F}" type="datetimeFigureOut">
              <a:rPr lang="en-US" smtClean="0"/>
              <a:t>4/21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2A7104-55CD-419E-B506-583C6A7862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7209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574492-103F-B34E-BE3B-6122011F1595}" type="datetimeFigureOut">
              <a:rPr lang="en-US" smtClean="0"/>
              <a:t>4/21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2622A2-3E00-2A4D-8E5C-1BC3C6BDB7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0978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622A2-3E00-2A4D-8E5C-1BC3C6BDB7A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1614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/>
              <a:t>Благодаря</a:t>
            </a:r>
            <a:r>
              <a:rPr lang="en-US"/>
              <a:t> </a:t>
            </a:r>
            <a:r>
              <a:rPr lang="en-US" err="1"/>
              <a:t>транспортировке</a:t>
            </a:r>
            <a:r>
              <a:rPr lang="en-US"/>
              <a:t> </a:t>
            </a:r>
            <a:r>
              <a:rPr lang="en-US" err="1"/>
              <a:t>готовой</a:t>
            </a:r>
            <a:r>
              <a:rPr lang="en-US"/>
              <a:t> продукции беспилотным грузовиком мы получаем</a:t>
            </a:r>
          </a:p>
          <a:p>
            <a:pPr marL="285750" indent="-285750">
              <a:buFont typeface="Arial"/>
              <a:buChar char="•"/>
            </a:pPr>
            <a:r>
              <a:rPr lang="en-US" err="1"/>
              <a:t>Снижение</a:t>
            </a:r>
            <a:r>
              <a:rPr lang="en-US"/>
              <a:t> </a:t>
            </a:r>
            <a:r>
              <a:rPr lang="en-US" err="1"/>
              <a:t>углеродного</a:t>
            </a:r>
            <a:r>
              <a:rPr lang="en-US"/>
              <a:t> </a:t>
            </a:r>
            <a:r>
              <a:rPr lang="en-US" err="1"/>
              <a:t>следа</a:t>
            </a:r>
            <a:r>
              <a:rPr lang="en-US"/>
              <a:t> (</a:t>
            </a:r>
            <a:r>
              <a:rPr lang="en-US" err="1"/>
              <a:t>экономия</a:t>
            </a:r>
            <a:r>
              <a:rPr lang="en-US"/>
              <a:t> </a:t>
            </a:r>
            <a:r>
              <a:rPr lang="en-US" err="1"/>
              <a:t>топлива</a:t>
            </a:r>
            <a:r>
              <a:rPr lang="en-US"/>
              <a:t>, ИИ </a:t>
            </a:r>
            <a:r>
              <a:rPr lang="en-US" err="1"/>
              <a:t>едет</a:t>
            </a:r>
            <a:r>
              <a:rPr lang="en-US"/>
              <a:t> </a:t>
            </a:r>
            <a:r>
              <a:rPr lang="en-US" err="1"/>
              <a:t>более</a:t>
            </a:r>
            <a:r>
              <a:rPr lang="en-US"/>
              <a:t> </a:t>
            </a:r>
            <a:r>
              <a:rPr lang="en-US" err="1"/>
              <a:t>плавно</a:t>
            </a:r>
            <a:r>
              <a:rPr lang="en-US"/>
              <a:t>, </a:t>
            </a:r>
            <a:r>
              <a:rPr lang="en-US" err="1"/>
              <a:t>без</a:t>
            </a:r>
            <a:r>
              <a:rPr lang="en-US"/>
              <a:t> </a:t>
            </a:r>
            <a:r>
              <a:rPr lang="en-US" err="1"/>
              <a:t>резких</a:t>
            </a:r>
            <a:r>
              <a:rPr lang="en-US"/>
              <a:t> </a:t>
            </a:r>
            <a:r>
              <a:rPr lang="en-US" err="1"/>
              <a:t>торможений</a:t>
            </a:r>
            <a:r>
              <a:rPr lang="en-US"/>
              <a:t> и </a:t>
            </a:r>
            <a:r>
              <a:rPr lang="en-US" err="1"/>
              <a:t>ускорений</a:t>
            </a:r>
            <a:r>
              <a:rPr lang="en-US"/>
              <a:t>)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err="1"/>
              <a:t>Снижение</a:t>
            </a:r>
            <a:r>
              <a:rPr lang="en-US"/>
              <a:t> </a:t>
            </a:r>
            <a:r>
              <a:rPr lang="en-US" err="1"/>
              <a:t>износа</a:t>
            </a:r>
            <a:r>
              <a:rPr lang="en-US"/>
              <a:t> </a:t>
            </a:r>
            <a:r>
              <a:rPr lang="en-US" err="1"/>
              <a:t>тормозных</a:t>
            </a:r>
            <a:r>
              <a:rPr lang="en-US"/>
              <a:t> </a:t>
            </a:r>
            <a:r>
              <a:rPr lang="en-US" err="1"/>
              <a:t>колодок</a:t>
            </a:r>
            <a:r>
              <a:rPr lang="en-US"/>
              <a:t>/</a:t>
            </a:r>
            <a:r>
              <a:rPr lang="en-US" err="1"/>
              <a:t>дисков</a:t>
            </a:r>
            <a:r>
              <a:rPr lang="en-US"/>
              <a:t> и </a:t>
            </a:r>
            <a:r>
              <a:rPr lang="en-US" err="1"/>
              <a:t>резины</a:t>
            </a:r>
            <a:endParaRPr lang="en-US" err="1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err="1"/>
              <a:t>Существенное</a:t>
            </a:r>
            <a:r>
              <a:rPr lang="en-US"/>
              <a:t> </a:t>
            </a:r>
            <a:r>
              <a:rPr lang="en-US" err="1"/>
              <a:t>снижение</a:t>
            </a:r>
            <a:r>
              <a:rPr lang="en-US"/>
              <a:t> </a:t>
            </a:r>
            <a:r>
              <a:rPr lang="en-US" err="1"/>
              <a:t>рисков</a:t>
            </a:r>
            <a:r>
              <a:rPr lang="en-US"/>
              <a:t> ДТП</a:t>
            </a:r>
            <a:endParaRPr lang="en-US">
              <a:ea typeface="Calibri"/>
              <a:cs typeface="Calibri"/>
            </a:endParaRPr>
          </a:p>
          <a:p>
            <a:r>
              <a:rPr lang="en-US"/>
              <a:t> </a:t>
            </a:r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622A2-3E00-2A4D-8E5C-1BC3C6BDB7A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7733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CEB88A-FAA1-4D1A-888A-5B93875825BE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187949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8B358D-9D69-CD74-2301-2BB77355E8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092094-DF46-A3EC-3156-5E39ACA970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C9FF1E-A435-C74E-66FE-9B2DF2E8E6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D7DD4A-70D5-40D6-3991-9CC3B94516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FF7222-1935-42DA-9F33-0B769AB57BA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50393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2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18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2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18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6.pn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0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3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D85679-A3AB-2643-A1FE-1CC2B0278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29438" y="2000409"/>
            <a:ext cx="7533124" cy="2857182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his ppt template is meant to be used for sustainability specific presentations. It should not be used as a default template for general business use, for example if only a portion of the presentation is sustainability related. It will mostly be used internally, however there are instances where it would be applicable for external such as a customer meeting that is focused on sustainability.</a:t>
            </a:r>
          </a:p>
        </p:txBody>
      </p:sp>
    </p:spTree>
    <p:extLst>
      <p:ext uri="{BB962C8B-B14F-4D97-AF65-F5344CB8AC3E}">
        <p14:creationId xmlns:p14="http://schemas.microsoft.com/office/powerpoint/2010/main" val="32211844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BFDA968-CFFF-574B-B309-1B13EAF036C4}"/>
              </a:ext>
            </a:extLst>
          </p:cNvPr>
          <p:cNvSpPr/>
          <p:nvPr userDrawn="1"/>
        </p:nvSpPr>
        <p:spPr>
          <a:xfrm>
            <a:off x="0" y="0"/>
            <a:ext cx="12192000" cy="68390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19" name="object 2"/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rgbClr val="00A6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3"/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B4B6F706-AD1F-B640-B628-5D2672D7B801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58617A-BFEA-6446-BBD6-1757FAF85B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8995" y="1274778"/>
            <a:ext cx="10952148" cy="4810836"/>
          </a:xfrm>
        </p:spPr>
        <p:txBody>
          <a:bodyPr>
            <a:noAutofit/>
          </a:bodyPr>
          <a:lstStyle>
            <a:lvl1pPr marL="287338" indent="-28733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0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20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81075" indent="-3413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2000">
                <a:solidFill>
                  <a:schemeClr val="accent5">
                    <a:lumMod val="75000"/>
                  </a:schemeClr>
                </a:solidFill>
              </a:defRPr>
            </a:lvl3pPr>
            <a:lvl4pPr marL="1376363" indent="-354013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2000">
                <a:solidFill>
                  <a:schemeClr val="accent5">
                    <a:lumMod val="75000"/>
                  </a:schemeClr>
                </a:solidFill>
              </a:defRPr>
            </a:lvl4pPr>
            <a:lvl5pPr marL="1781175" indent="-361950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20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16235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113B8C5-618D-8340-9385-C047E514B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073" y="609952"/>
            <a:ext cx="8809037" cy="4886325"/>
          </a:xfrm>
        </p:spPr>
        <p:txBody>
          <a:bodyPr>
            <a:noAutofit/>
          </a:bodyPr>
          <a:lstStyle>
            <a:lvl1pPr marL="350838" indent="-35083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4000"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92150" marR="0" indent="-406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40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35050" indent="-39528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4000">
                <a:solidFill>
                  <a:schemeClr val="accent5">
                    <a:lumMod val="75000"/>
                  </a:schemeClr>
                </a:solidFill>
              </a:defRPr>
            </a:lvl3pPr>
            <a:lvl4pPr marL="1428750" indent="-406400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4000">
                <a:solidFill>
                  <a:schemeClr val="accent5">
                    <a:lumMod val="75000"/>
                  </a:schemeClr>
                </a:solidFill>
              </a:defRPr>
            </a:lvl4pPr>
            <a:lvl5pPr marL="1835150" indent="-41592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40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  <p:sp>
        <p:nvSpPr>
          <p:cNvPr id="12" name="object 14">
            <a:extLst>
              <a:ext uri="{FF2B5EF4-FFF2-40B4-BE49-F238E27FC236}">
                <a16:creationId xmlns:a16="http://schemas.microsoft.com/office/drawing/2014/main" id="{63CC28AF-816F-914B-BD03-1AAE4F04B3DF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DF279B-DCC7-4647-A015-2B277E80A4AB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30997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B387AC-BC5C-4C42-B302-D15C0CB7E4A3}"/>
              </a:ext>
            </a:extLst>
          </p:cNvPr>
          <p:cNvSpPr/>
          <p:nvPr userDrawn="1"/>
        </p:nvSpPr>
        <p:spPr>
          <a:xfrm>
            <a:off x="0" y="-213"/>
            <a:ext cx="12192000" cy="66085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67D320CA-D13D-314C-9DD6-715528DB982B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817691-C743-BD49-8BC2-70360EED85C7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81206D9-ADB3-1342-8D17-BE1853EDEC6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073" y="609952"/>
            <a:ext cx="8809037" cy="4886325"/>
          </a:xfrm>
        </p:spPr>
        <p:txBody>
          <a:bodyPr>
            <a:noAutofit/>
          </a:bodyPr>
          <a:lstStyle>
            <a:lvl1pPr marL="404813" indent="-40481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4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6125" marR="0" indent="-460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4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7438" indent="-447675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4000">
                <a:solidFill>
                  <a:schemeClr val="bg1"/>
                </a:solidFill>
              </a:defRPr>
            </a:lvl3pPr>
            <a:lvl4pPr marL="1493838" indent="-47148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4000">
                <a:solidFill>
                  <a:schemeClr val="bg1"/>
                </a:solidFill>
              </a:defRPr>
            </a:lvl4pPr>
            <a:lvl5pPr marL="1887538" indent="-468313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4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66806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ground, person, outdoor, young&#10;&#10;Description automatically generated">
            <a:extLst>
              <a:ext uri="{FF2B5EF4-FFF2-40B4-BE49-F238E27FC236}">
                <a16:creationId xmlns:a16="http://schemas.microsoft.com/office/drawing/2014/main" id="{1E4B4E86-1417-6E49-A17F-5319E3958B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86"/>
          <a:stretch/>
        </p:blipFill>
        <p:spPr>
          <a:xfrm>
            <a:off x="0" y="0"/>
            <a:ext cx="12192000" cy="6639040"/>
          </a:xfrm>
          <a:prstGeom prst="rect">
            <a:avLst/>
          </a:prstGeom>
        </p:spPr>
      </p:pic>
      <p:sp>
        <p:nvSpPr>
          <p:cNvPr id="9" name="object 14">
            <a:extLst>
              <a:ext uri="{FF2B5EF4-FFF2-40B4-BE49-F238E27FC236}">
                <a16:creationId xmlns:a16="http://schemas.microsoft.com/office/drawing/2014/main" id="{67D320CA-D13D-314C-9DD6-715528DB982B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817691-C743-BD49-8BC2-70360EED85C7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39D18E5-90AF-504B-92D4-29F221BEFD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073" y="609952"/>
            <a:ext cx="8809037" cy="4886325"/>
          </a:xfrm>
        </p:spPr>
        <p:txBody>
          <a:bodyPr>
            <a:noAutofit/>
          </a:bodyPr>
          <a:lstStyle>
            <a:lvl1pPr marL="404813" indent="-40481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4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6125" marR="0" indent="-460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4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7438" indent="-447675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4000">
                <a:solidFill>
                  <a:schemeClr val="bg1"/>
                </a:solidFill>
              </a:defRPr>
            </a:lvl3pPr>
            <a:lvl4pPr marL="1493838" indent="-47148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4000">
                <a:solidFill>
                  <a:schemeClr val="bg1"/>
                </a:solidFill>
              </a:defRPr>
            </a:lvl4pPr>
            <a:lvl5pPr marL="1887538" indent="-468313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4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44385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589FC804-BA26-1A4C-9F9E-601162E3A92A}"/>
              </a:ext>
            </a:extLst>
          </p:cNvPr>
          <p:cNvSpPr/>
          <p:nvPr userDrawn="1"/>
        </p:nvSpPr>
        <p:spPr>
          <a:xfrm>
            <a:off x="-1" y="1"/>
            <a:ext cx="8962571" cy="661488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pPr marL="115570">
              <a:spcBef>
                <a:spcPts val="100"/>
              </a:spcBef>
              <a:spcAft>
                <a:spcPts val="100"/>
              </a:spcAft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F1A5276-B207-1241-AB5C-173DA2456ED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21675" y="-3175"/>
            <a:ext cx="3870325" cy="6872288"/>
          </a:xfrm>
        </p:spPr>
        <p:txBody>
          <a:bodyPr/>
          <a:lstStyle/>
          <a:p>
            <a:endParaRPr lang="en-US"/>
          </a:p>
        </p:txBody>
      </p:sp>
      <p:pic>
        <p:nvPicPr>
          <p:cNvPr id="26" name="Picture 17" descr="A person flying through the sky&#10;&#10;Description automatically generated">
            <a:extLst>
              <a:ext uri="{FF2B5EF4-FFF2-40B4-BE49-F238E27FC236}">
                <a16:creationId xmlns:a16="http://schemas.microsoft.com/office/drawing/2014/main" id="{D0CAA0DA-3C2D-ED41-A609-880772538F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7625" y="0"/>
            <a:ext cx="3873436" cy="6611257"/>
          </a:xfrm>
          <a:prstGeom prst="rect">
            <a:avLst/>
          </a:prstGeom>
        </p:spPr>
      </p:pic>
      <p:pic>
        <p:nvPicPr>
          <p:cNvPr id="4" name="Picture 3" descr="A person holding a guitar&#10;&#10;Description automatically generated with medium confidence">
            <a:extLst>
              <a:ext uri="{FF2B5EF4-FFF2-40B4-BE49-F238E27FC236}">
                <a16:creationId xmlns:a16="http://schemas.microsoft.com/office/drawing/2014/main" id="{DE32126E-F6E2-8343-A036-58FDEED358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124" y="-2240257"/>
            <a:ext cx="11085937" cy="8848604"/>
          </a:xfrm>
          <a:prstGeom prst="rect">
            <a:avLst/>
          </a:prstGeom>
        </p:spPr>
      </p:pic>
      <p:sp>
        <p:nvSpPr>
          <p:cNvPr id="17" name="object 14">
            <a:extLst>
              <a:ext uri="{FF2B5EF4-FFF2-40B4-BE49-F238E27FC236}">
                <a16:creationId xmlns:a16="http://schemas.microsoft.com/office/drawing/2014/main" id="{B57844F7-F117-3E40-9D0D-6593EA925DEE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9971B8A-8AAA-B14B-B469-8A629B78A6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67414" y="4543054"/>
            <a:ext cx="5951320" cy="1547397"/>
          </a:xfrm>
        </p:spPr>
        <p:txBody>
          <a:bodyPr>
            <a:noAutofit/>
          </a:bodyPr>
          <a:lstStyle>
            <a:lvl1pPr marL="233363" indent="-233363">
              <a:tabLst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6125" indent="-288925">
              <a:buSzPct val="80000"/>
              <a:buFont typeface="Courier New" panose="02070309020205020404" pitchFamily="49" charset="0"/>
              <a:buChar char="o"/>
              <a:tabLst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04913" indent="-290513">
              <a:buSzPct val="80000"/>
              <a:buFont typeface="Courier New" panose="02070309020205020404" pitchFamily="49" charset="0"/>
              <a:buChar char="o"/>
              <a:tabLst/>
              <a:defRPr sz="1800">
                <a:solidFill>
                  <a:schemeClr val="bg1"/>
                </a:solidFill>
              </a:defRPr>
            </a:lvl3pPr>
            <a:lvl4pPr marL="1663700" indent="-292100">
              <a:buSzPct val="80000"/>
              <a:buFont typeface="Courier New" panose="02070309020205020404" pitchFamily="49" charset="0"/>
              <a:buChar char="o"/>
              <a:tabLst/>
              <a:defRPr sz="18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1307D2-8B0F-0446-8920-FA0A95D55A53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0F8B168-31C9-A748-B16B-40DA460FC3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7414" y="2320515"/>
            <a:ext cx="5951320" cy="1547397"/>
          </a:xfrm>
        </p:spPr>
        <p:txBody>
          <a:bodyPr>
            <a:noAutofit/>
          </a:bodyPr>
          <a:lstStyle>
            <a:lvl1pPr marL="233363" indent="-233363">
              <a:tabLst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6125" indent="-288925">
              <a:buSzPct val="80000"/>
              <a:buFont typeface="Courier New" panose="02070309020205020404" pitchFamily="49" charset="0"/>
              <a:buChar char="o"/>
              <a:tabLst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04913" indent="-290513">
              <a:buSzPct val="80000"/>
              <a:buFont typeface="Courier New" panose="02070309020205020404" pitchFamily="49" charset="0"/>
              <a:buChar char="o"/>
              <a:tabLst/>
              <a:defRPr sz="1800">
                <a:solidFill>
                  <a:schemeClr val="bg1"/>
                </a:solidFill>
              </a:defRPr>
            </a:lvl3pPr>
            <a:lvl4pPr marL="1663700" indent="-292100">
              <a:buSzPct val="80000"/>
              <a:buFont typeface="Courier New" panose="02070309020205020404" pitchFamily="49" charset="0"/>
              <a:buChar char="o"/>
              <a:tabLst/>
              <a:defRPr sz="18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sp>
        <p:nvSpPr>
          <p:cNvPr id="33" name="Title 7">
            <a:extLst>
              <a:ext uri="{FF2B5EF4-FFF2-40B4-BE49-F238E27FC236}">
                <a16:creationId xmlns:a16="http://schemas.microsoft.com/office/drawing/2014/main" id="{F21A72B0-98FB-0949-91E6-5003ECBCE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51" y="502362"/>
            <a:ext cx="5527649" cy="95974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5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023B5CBC-FA81-C342-98C0-25C1A701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2" y="1717012"/>
            <a:ext cx="1937104" cy="54155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500" b="1" i="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1180FE8C-1825-C549-B594-DFDE6EBCF4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52" y="3929860"/>
            <a:ext cx="1937104" cy="54155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500" b="1" i="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</p:spTree>
    <p:extLst>
      <p:ext uri="{BB962C8B-B14F-4D97-AF65-F5344CB8AC3E}">
        <p14:creationId xmlns:p14="http://schemas.microsoft.com/office/powerpoint/2010/main" val="10356840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589FC804-BA26-1A4C-9F9E-601162E3A92A}"/>
              </a:ext>
            </a:extLst>
          </p:cNvPr>
          <p:cNvSpPr/>
          <p:nvPr userDrawn="1"/>
        </p:nvSpPr>
        <p:spPr>
          <a:xfrm>
            <a:off x="-1" y="1"/>
            <a:ext cx="8962571" cy="66148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pPr marL="115570">
              <a:spcBef>
                <a:spcPts val="100"/>
              </a:spcBef>
              <a:spcAft>
                <a:spcPts val="100"/>
              </a:spcAft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F1A5276-B207-1241-AB5C-173DA2456ED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21675" y="-3175"/>
            <a:ext cx="3870325" cy="6872288"/>
          </a:xfrm>
        </p:spPr>
        <p:txBody>
          <a:bodyPr/>
          <a:lstStyle/>
          <a:p>
            <a:endParaRPr lang="en-US"/>
          </a:p>
        </p:txBody>
      </p:sp>
      <p:pic>
        <p:nvPicPr>
          <p:cNvPr id="26" name="Picture 17" descr="A person flying through the sky&#10;&#10;Description automatically generated">
            <a:extLst>
              <a:ext uri="{FF2B5EF4-FFF2-40B4-BE49-F238E27FC236}">
                <a16:creationId xmlns:a16="http://schemas.microsoft.com/office/drawing/2014/main" id="{D0CAA0DA-3C2D-ED41-A609-880772538F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7625" y="0"/>
            <a:ext cx="3873436" cy="6611257"/>
          </a:xfrm>
          <a:prstGeom prst="rect">
            <a:avLst/>
          </a:prstGeom>
        </p:spPr>
      </p:pic>
      <p:pic>
        <p:nvPicPr>
          <p:cNvPr id="4" name="Picture 3" descr="A person holding a guitar&#10;&#10;Description automatically generated with medium confidence">
            <a:extLst>
              <a:ext uri="{FF2B5EF4-FFF2-40B4-BE49-F238E27FC236}">
                <a16:creationId xmlns:a16="http://schemas.microsoft.com/office/drawing/2014/main" id="{DE32126E-F6E2-8343-A036-58FDEED358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124" y="-2240257"/>
            <a:ext cx="11085937" cy="8848604"/>
          </a:xfrm>
          <a:prstGeom prst="rect">
            <a:avLst/>
          </a:prstGeom>
        </p:spPr>
      </p:pic>
      <p:sp>
        <p:nvSpPr>
          <p:cNvPr id="17" name="object 14">
            <a:extLst>
              <a:ext uri="{FF2B5EF4-FFF2-40B4-BE49-F238E27FC236}">
                <a16:creationId xmlns:a16="http://schemas.microsoft.com/office/drawing/2014/main" id="{B57844F7-F117-3E40-9D0D-6593EA925DEE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9971B8A-8AAA-B14B-B469-8A629B78A6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67414" y="4543054"/>
            <a:ext cx="5951320" cy="1547397"/>
          </a:xfrm>
        </p:spPr>
        <p:txBody>
          <a:bodyPr>
            <a:noAutofit/>
          </a:bodyPr>
          <a:lstStyle>
            <a:lvl1pPr marL="233363" indent="-233363">
              <a:tabLst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6125" indent="-288925">
              <a:buSzPct val="80000"/>
              <a:buFont typeface="Courier New" panose="02070309020205020404" pitchFamily="49" charset="0"/>
              <a:buChar char="o"/>
              <a:tabLst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04913" indent="-290513">
              <a:buSzPct val="80000"/>
              <a:buFont typeface="Courier New" panose="02070309020205020404" pitchFamily="49" charset="0"/>
              <a:buChar char="o"/>
              <a:tabLst/>
              <a:defRPr sz="1800">
                <a:solidFill>
                  <a:schemeClr val="bg1"/>
                </a:solidFill>
              </a:defRPr>
            </a:lvl3pPr>
            <a:lvl4pPr marL="1663700" indent="-292100">
              <a:buSzPct val="80000"/>
              <a:buFont typeface="Courier New" panose="02070309020205020404" pitchFamily="49" charset="0"/>
              <a:buChar char="o"/>
              <a:tabLst/>
              <a:defRPr sz="18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1307D2-8B0F-0446-8920-FA0A95D55A53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0F8B168-31C9-A748-B16B-40DA460FC3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7414" y="2320515"/>
            <a:ext cx="5951320" cy="1547397"/>
          </a:xfrm>
        </p:spPr>
        <p:txBody>
          <a:bodyPr>
            <a:noAutofit/>
          </a:bodyPr>
          <a:lstStyle>
            <a:lvl1pPr marL="233363" indent="-233363">
              <a:tabLst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6125" indent="-288925">
              <a:buSzPct val="80000"/>
              <a:buFont typeface="Courier New" panose="02070309020205020404" pitchFamily="49" charset="0"/>
              <a:buChar char="o"/>
              <a:tabLst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04913" indent="-290513">
              <a:buSzPct val="80000"/>
              <a:buFont typeface="Courier New" panose="02070309020205020404" pitchFamily="49" charset="0"/>
              <a:buChar char="o"/>
              <a:tabLst/>
              <a:defRPr sz="1800">
                <a:solidFill>
                  <a:schemeClr val="bg1"/>
                </a:solidFill>
              </a:defRPr>
            </a:lvl3pPr>
            <a:lvl4pPr marL="1663700" indent="-292100">
              <a:buSzPct val="80000"/>
              <a:buFont typeface="Courier New" panose="02070309020205020404" pitchFamily="49" charset="0"/>
              <a:buChar char="o"/>
              <a:tabLst/>
              <a:defRPr sz="18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sp>
        <p:nvSpPr>
          <p:cNvPr id="33" name="Title 7">
            <a:extLst>
              <a:ext uri="{FF2B5EF4-FFF2-40B4-BE49-F238E27FC236}">
                <a16:creationId xmlns:a16="http://schemas.microsoft.com/office/drawing/2014/main" id="{F21A72B0-98FB-0949-91E6-5003ECBCE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51" y="502362"/>
            <a:ext cx="5527649" cy="95974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5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023B5CBC-FA81-C342-98C0-25C1A701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2" y="1717012"/>
            <a:ext cx="1937104" cy="54155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500" b="1" i="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1180FE8C-1825-C549-B594-DFDE6EBCF4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52" y="3929860"/>
            <a:ext cx="1937104" cy="54155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500" b="1" i="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</p:spTree>
    <p:extLst>
      <p:ext uri="{BB962C8B-B14F-4D97-AF65-F5344CB8AC3E}">
        <p14:creationId xmlns:p14="http://schemas.microsoft.com/office/powerpoint/2010/main" val="3646424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589FC804-BA26-1A4C-9F9E-601162E3A92A}"/>
              </a:ext>
            </a:extLst>
          </p:cNvPr>
          <p:cNvSpPr/>
          <p:nvPr userDrawn="1"/>
        </p:nvSpPr>
        <p:spPr>
          <a:xfrm>
            <a:off x="-1" y="1"/>
            <a:ext cx="8962571" cy="66148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pPr marL="115570">
              <a:spcBef>
                <a:spcPts val="100"/>
              </a:spcBef>
              <a:spcAft>
                <a:spcPts val="100"/>
              </a:spcAft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F1BE40F-A8A5-AC4C-94D9-D822561EE2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8351" y="1691374"/>
            <a:ext cx="6225987" cy="4060070"/>
          </a:xfrm>
        </p:spPr>
        <p:txBody>
          <a:bodyPr>
            <a:noAutofit/>
          </a:bodyPr>
          <a:lstStyle>
            <a:lvl1pPr marL="350838" indent="-35083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92150" marR="0" indent="-406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2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35050" indent="-39528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2800">
                <a:solidFill>
                  <a:schemeClr val="bg1"/>
                </a:solidFill>
              </a:defRPr>
            </a:lvl3pPr>
            <a:lvl4pPr marL="1428750" indent="-40640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2800">
                <a:solidFill>
                  <a:schemeClr val="bg1"/>
                </a:solidFill>
              </a:defRPr>
            </a:lvl4pPr>
            <a:lvl5pPr marL="1835150" indent="-41592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F1A5276-B207-1241-AB5C-173DA2456ED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21675" y="-3175"/>
            <a:ext cx="3870325" cy="6872288"/>
          </a:xfrm>
        </p:spPr>
        <p:txBody>
          <a:bodyPr/>
          <a:lstStyle/>
          <a:p>
            <a:endParaRPr lang="en-US"/>
          </a:p>
        </p:txBody>
      </p:sp>
      <p:pic>
        <p:nvPicPr>
          <p:cNvPr id="26" name="Picture 17" descr="A person flying through the sky&#10;&#10;Description automatically generated">
            <a:extLst>
              <a:ext uri="{FF2B5EF4-FFF2-40B4-BE49-F238E27FC236}">
                <a16:creationId xmlns:a16="http://schemas.microsoft.com/office/drawing/2014/main" id="{D0CAA0DA-3C2D-ED41-A609-880772538F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7625" y="0"/>
            <a:ext cx="3873436" cy="6611257"/>
          </a:xfrm>
          <a:prstGeom prst="rect">
            <a:avLst/>
          </a:prstGeom>
        </p:spPr>
      </p:pic>
      <p:sp>
        <p:nvSpPr>
          <p:cNvPr id="33" name="Title 7">
            <a:extLst>
              <a:ext uri="{FF2B5EF4-FFF2-40B4-BE49-F238E27FC236}">
                <a16:creationId xmlns:a16="http://schemas.microsoft.com/office/drawing/2014/main" id="{F21A72B0-98FB-0949-91E6-5003ECBCE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51" y="502362"/>
            <a:ext cx="6376459" cy="95974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54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B57844F7-F117-3E40-9D0D-6593EA925DEE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1307D2-8B0F-0446-8920-FA0A95D55A53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2" name="Picture 21" descr="A person holding a guitar&#10;&#10;Description automatically generated with medium confidence">
            <a:extLst>
              <a:ext uri="{FF2B5EF4-FFF2-40B4-BE49-F238E27FC236}">
                <a16:creationId xmlns:a16="http://schemas.microsoft.com/office/drawing/2014/main" id="{3B8C1BAE-A4B4-7F43-A038-185A3ABFCF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124" y="-2240257"/>
            <a:ext cx="11085937" cy="8848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2246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0" y="0"/>
            <a:ext cx="6415088" cy="6858000"/>
            <a:chOff x="0" y="0"/>
            <a:chExt cx="7815580" cy="8366981"/>
          </a:xfrm>
        </p:grpSpPr>
        <p:sp>
          <p:nvSpPr>
            <p:cNvPr id="20" name="object 3"/>
            <p:cNvSpPr/>
            <p:nvPr userDrawn="1"/>
          </p:nvSpPr>
          <p:spPr>
            <a:xfrm>
              <a:off x="0" y="0"/>
              <a:ext cx="7815580" cy="5356860"/>
            </a:xfrm>
            <a:custGeom>
              <a:avLst/>
              <a:gdLst/>
              <a:ahLst/>
              <a:cxnLst/>
              <a:rect l="l" t="t" r="r" b="b"/>
              <a:pathLst>
                <a:path w="7815580" h="5356860">
                  <a:moveTo>
                    <a:pt x="0" y="5356606"/>
                  </a:moveTo>
                  <a:lnTo>
                    <a:pt x="7815491" y="5356606"/>
                  </a:lnTo>
                  <a:lnTo>
                    <a:pt x="7815491" y="0"/>
                  </a:lnTo>
                  <a:lnTo>
                    <a:pt x="0" y="0"/>
                  </a:lnTo>
                  <a:lnTo>
                    <a:pt x="0" y="5356606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4"/>
            <p:cNvSpPr/>
            <p:nvPr userDrawn="1"/>
          </p:nvSpPr>
          <p:spPr>
            <a:xfrm>
              <a:off x="0" y="2837542"/>
              <a:ext cx="7815580" cy="5529439"/>
            </a:xfrm>
            <a:custGeom>
              <a:avLst/>
              <a:gdLst/>
              <a:ahLst/>
              <a:cxnLst/>
              <a:rect l="l" t="t" r="r" b="b"/>
              <a:pathLst>
                <a:path w="7815580" h="2254250">
                  <a:moveTo>
                    <a:pt x="0" y="2253640"/>
                  </a:moveTo>
                  <a:lnTo>
                    <a:pt x="7815491" y="2253640"/>
                  </a:lnTo>
                  <a:lnTo>
                    <a:pt x="7815491" y="0"/>
                  </a:lnTo>
                  <a:lnTo>
                    <a:pt x="0" y="0"/>
                  </a:lnTo>
                  <a:lnTo>
                    <a:pt x="0" y="225364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FC9E75-76C1-9E41-B519-C3DA63AE34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2862" y="2449249"/>
            <a:ext cx="5618573" cy="3719776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bg1"/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415088" y="-1"/>
            <a:ext cx="5776912" cy="660856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35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98041" y="1877701"/>
            <a:ext cx="5618573" cy="26640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b="0" i="0" kern="1200" spc="245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ALL-CAPS</a:t>
            </a:r>
          </a:p>
        </p:txBody>
      </p:sp>
      <p:sp>
        <p:nvSpPr>
          <p:cNvPr id="38" name="Title 32"/>
          <p:cNvSpPr>
            <a:spLocks noGrp="1"/>
          </p:cNvSpPr>
          <p:nvPr>
            <p:ph type="title"/>
          </p:nvPr>
        </p:nvSpPr>
        <p:spPr>
          <a:xfrm>
            <a:off x="398041" y="570086"/>
            <a:ext cx="5618573" cy="130907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3" name="object 14">
            <a:extLst>
              <a:ext uri="{FF2B5EF4-FFF2-40B4-BE49-F238E27FC236}">
                <a16:creationId xmlns:a16="http://schemas.microsoft.com/office/drawing/2014/main" id="{1F1B76FF-C9EC-5A44-A974-9022B654186B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CF5127-9F25-9E46-8D97-1E611FED570C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1009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3"/>
          <p:cNvSpPr/>
          <p:nvPr userDrawn="1"/>
        </p:nvSpPr>
        <p:spPr>
          <a:xfrm>
            <a:off x="0" y="905993"/>
            <a:ext cx="6705600" cy="5700342"/>
          </a:xfrm>
          <a:custGeom>
            <a:avLst/>
            <a:gdLst/>
            <a:ahLst/>
            <a:cxnLst/>
            <a:rect l="l" t="t" r="r" b="b"/>
            <a:pathLst>
              <a:path w="7315200" h="6218555">
                <a:moveTo>
                  <a:pt x="0" y="6218174"/>
                </a:moveTo>
                <a:lnTo>
                  <a:pt x="7315200" y="6218174"/>
                </a:lnTo>
                <a:lnTo>
                  <a:pt x="7315200" y="0"/>
                </a:lnTo>
                <a:lnTo>
                  <a:pt x="0" y="0"/>
                </a:lnTo>
                <a:lnTo>
                  <a:pt x="0" y="6218174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C303B69-6EC1-474B-9014-1D2C03DC62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233" y="1283891"/>
            <a:ext cx="5486768" cy="4890853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bg1"/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705601" y="900273"/>
            <a:ext cx="5486400" cy="5700341"/>
          </a:xfrm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endParaRPr lang="en-US"/>
          </a:p>
        </p:txBody>
      </p:sp>
      <p:sp>
        <p:nvSpPr>
          <p:cNvPr id="17" name="object 2">
            <a:extLst>
              <a:ext uri="{FF2B5EF4-FFF2-40B4-BE49-F238E27FC236}">
                <a16:creationId xmlns:a16="http://schemas.microsoft.com/office/drawing/2014/main" id="{D6DCC7D7-83DB-FF49-9DED-47437181314F}"/>
              </a:ext>
            </a:extLst>
          </p:cNvPr>
          <p:cNvSpPr/>
          <p:nvPr userDrawn="1"/>
        </p:nvSpPr>
        <p:spPr>
          <a:xfrm>
            <a:off x="0" y="0"/>
            <a:ext cx="12192000" cy="1039905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4">
            <a:extLst>
              <a:ext uri="{FF2B5EF4-FFF2-40B4-BE49-F238E27FC236}">
                <a16:creationId xmlns:a16="http://schemas.microsoft.com/office/drawing/2014/main" id="{A051F528-0267-AC44-802E-6CFA81790A91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5550B7E-D516-3042-9492-3A35043BF549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C94709-72E8-DB46-84A4-EC29FA2E63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232" y="246212"/>
            <a:ext cx="10952848" cy="547480"/>
          </a:xfrm>
        </p:spPr>
        <p:txBody>
          <a:bodyPr>
            <a:noAutofit/>
          </a:bodyPr>
          <a:lstStyle>
            <a:lvl1pPr>
              <a:buNone/>
              <a:defRPr sz="32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1314868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0" y="0"/>
            <a:ext cx="6380189" cy="6865257"/>
          </a:xfrm>
          <a:custGeom>
            <a:avLst/>
            <a:gdLst/>
            <a:ahLst/>
            <a:cxnLst/>
            <a:rect l="l" t="t" r="r" b="b"/>
            <a:pathLst>
              <a:path w="7633970" h="8214359">
                <a:moveTo>
                  <a:pt x="7633944" y="8213763"/>
                </a:moveTo>
                <a:lnTo>
                  <a:pt x="0" y="8213763"/>
                </a:lnTo>
                <a:lnTo>
                  <a:pt x="0" y="0"/>
                </a:lnTo>
                <a:lnTo>
                  <a:pt x="7633944" y="0"/>
                </a:lnTo>
                <a:lnTo>
                  <a:pt x="7633944" y="8213763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9BBD7DC-101F-DE41-B947-F7A236E0D0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8351" y="1509430"/>
            <a:ext cx="5243485" cy="4655064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68351" y="502362"/>
            <a:ext cx="5243485" cy="5092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19" name="Picture Placeholder 25">
            <a:extLst>
              <a:ext uri="{FF2B5EF4-FFF2-40B4-BE49-F238E27FC236}">
                <a16:creationId xmlns:a16="http://schemas.microsoft.com/office/drawing/2014/main" id="{C0EDF1BA-F897-AC42-9578-3CCCFD8F9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80164" y="-1"/>
            <a:ext cx="5811836" cy="660403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0525074F-92B4-2A4A-8FD9-4119F323FE50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2FA67C-B82C-FA42-9F0D-AFF4AE7190E8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893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/>
        </p:nvSpPr>
        <p:spPr>
          <a:xfrm>
            <a:off x="8105402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1165" y="3376933"/>
            <a:ext cx="3587051" cy="334962"/>
          </a:xfrm>
        </p:spPr>
        <p:txBody>
          <a:bodyPr/>
          <a:lstStyle>
            <a:lvl1pPr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1102" y="3882109"/>
            <a:ext cx="3345069" cy="334962"/>
          </a:xfrm>
        </p:spPr>
        <p:txBody>
          <a:bodyPr/>
          <a:lstStyle>
            <a:lvl1pPr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165" y="2156693"/>
            <a:ext cx="3811904" cy="932688"/>
          </a:xfrm>
        </p:spPr>
        <p:txBody>
          <a:bodyPr>
            <a:noAutofit/>
          </a:bodyPr>
          <a:lstStyle>
            <a:lvl1pPr marL="7938" indent="-7938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epsiCo Positive</a:t>
            </a:r>
          </a:p>
          <a:p>
            <a:pPr lvl="0"/>
            <a:r>
              <a:rPr lang="en-US"/>
              <a:t>Template</a:t>
            </a: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8FB9A419-EFD6-D543-8D2D-13D26EFCD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5073" y="4644994"/>
            <a:ext cx="3895609" cy="182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114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0" y="0"/>
            <a:ext cx="6380189" cy="6865257"/>
          </a:xfrm>
          <a:custGeom>
            <a:avLst/>
            <a:gdLst/>
            <a:ahLst/>
            <a:cxnLst/>
            <a:rect l="l" t="t" r="r" b="b"/>
            <a:pathLst>
              <a:path w="7633970" h="8214359">
                <a:moveTo>
                  <a:pt x="7633944" y="8213763"/>
                </a:moveTo>
                <a:lnTo>
                  <a:pt x="0" y="8213763"/>
                </a:lnTo>
                <a:lnTo>
                  <a:pt x="0" y="0"/>
                </a:lnTo>
                <a:lnTo>
                  <a:pt x="7633944" y="0"/>
                </a:lnTo>
                <a:lnTo>
                  <a:pt x="7633944" y="8213763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F45D8A2-1C9E-034C-92A4-CF7C3E2F3C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3395" y="2210178"/>
            <a:ext cx="4575628" cy="3958848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bg1"/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95113" y="598495"/>
            <a:ext cx="4575628" cy="149270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380163" y="-1"/>
            <a:ext cx="5811837" cy="660403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5EE6E61F-3C40-184C-BDFD-0C688F65A4DE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425BAE-D08E-A242-8D08-2F09949F5011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24557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5811811" y="-7257"/>
            <a:ext cx="6380189" cy="6865257"/>
          </a:xfrm>
          <a:custGeom>
            <a:avLst/>
            <a:gdLst/>
            <a:ahLst/>
            <a:cxnLst/>
            <a:rect l="l" t="t" r="r" b="b"/>
            <a:pathLst>
              <a:path w="7633970" h="8214359">
                <a:moveTo>
                  <a:pt x="7633944" y="8213763"/>
                </a:moveTo>
                <a:lnTo>
                  <a:pt x="0" y="8213763"/>
                </a:lnTo>
                <a:lnTo>
                  <a:pt x="0" y="0"/>
                </a:lnTo>
                <a:lnTo>
                  <a:pt x="7633944" y="0"/>
                </a:lnTo>
                <a:lnTo>
                  <a:pt x="7633944" y="8213763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A410075-A9E7-0B43-8C97-F3C18B4A1C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48216" y="2873828"/>
            <a:ext cx="4847771" cy="2656116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5811838" cy="66083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6548216" y="1493043"/>
            <a:ext cx="4847771" cy="1295626"/>
          </a:xfrm>
        </p:spPr>
        <p:txBody>
          <a:bodyPr>
            <a:noAutofit/>
          </a:bodyPr>
          <a:lstStyle>
            <a:lvl1pPr>
              <a:defRPr lang="en-US" sz="4000" b="1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32033EF5-5C33-EF4C-BA65-CB528D26F1FF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428D19-C99A-5244-8DEB-3ACEB8030D1E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9071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5811811" y="-7257"/>
            <a:ext cx="6380189" cy="6865257"/>
          </a:xfrm>
          <a:custGeom>
            <a:avLst/>
            <a:gdLst/>
            <a:ahLst/>
            <a:cxnLst/>
            <a:rect l="l" t="t" r="r" b="b"/>
            <a:pathLst>
              <a:path w="7633970" h="8214359">
                <a:moveTo>
                  <a:pt x="7633944" y="8213763"/>
                </a:moveTo>
                <a:lnTo>
                  <a:pt x="0" y="8213763"/>
                </a:lnTo>
                <a:lnTo>
                  <a:pt x="0" y="0"/>
                </a:lnTo>
                <a:lnTo>
                  <a:pt x="7633944" y="0"/>
                </a:lnTo>
                <a:lnTo>
                  <a:pt x="7633944" y="8213763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F6C587-4C81-F243-A6DC-43635033AF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48216" y="2880247"/>
            <a:ext cx="4847770" cy="2656116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bg1"/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5811838" cy="66083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6548216" y="1493043"/>
            <a:ext cx="4847771" cy="1295626"/>
          </a:xfrm>
        </p:spPr>
        <p:txBody>
          <a:bodyPr>
            <a:noAutofit/>
          </a:bodyPr>
          <a:lstStyle>
            <a:lvl1pPr>
              <a:defRPr lang="en-US" sz="4000" b="1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32033EF5-5C33-EF4C-BA65-CB528D26F1FF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428D19-C99A-5244-8DEB-3ACEB8030D1E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8754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7907317" y="-7257"/>
            <a:ext cx="3866497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513F36F-7FF0-5148-A0A7-96C0F6EEB6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49148" y="3410094"/>
            <a:ext cx="3381950" cy="2614477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7" name="object 8"/>
          <p:cNvSpPr/>
          <p:nvPr userDrawn="1"/>
        </p:nvSpPr>
        <p:spPr>
          <a:xfrm>
            <a:off x="11773373" y="-7257"/>
            <a:ext cx="418628" cy="6865257"/>
          </a:xfrm>
          <a:custGeom>
            <a:avLst/>
            <a:gdLst/>
            <a:ahLst/>
            <a:cxnLst/>
            <a:rect l="l" t="t" r="r" b="b"/>
            <a:pathLst>
              <a:path w="457200" h="8229600">
                <a:moveTo>
                  <a:pt x="0" y="8229600"/>
                </a:moveTo>
                <a:lnTo>
                  <a:pt x="457200" y="8229600"/>
                </a:lnTo>
                <a:lnTo>
                  <a:pt x="457200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Picture Placeholder 9"/>
          <p:cNvSpPr>
            <a:spLocks noGrp="1"/>
          </p:cNvSpPr>
          <p:nvPr userDrawn="1">
            <p:ph type="pic" sz="quarter" idx="10"/>
          </p:nvPr>
        </p:nvSpPr>
        <p:spPr>
          <a:xfrm>
            <a:off x="0" y="-1"/>
            <a:ext cx="7907316" cy="66083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11" name="Title 10"/>
          <p:cNvSpPr>
            <a:spLocks noGrp="1"/>
          </p:cNvSpPr>
          <p:nvPr userDrawn="1">
            <p:ph type="title"/>
          </p:nvPr>
        </p:nvSpPr>
        <p:spPr>
          <a:xfrm>
            <a:off x="8149590" y="1569811"/>
            <a:ext cx="3381950" cy="1782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03562ECA-FC5B-8C48-9407-AD8204645385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1D9F85-7794-B645-8BEB-1AD8CE917621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8460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1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7789555-0EA3-6B4A-BB4F-C907720FA1F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8995" y="1989298"/>
            <a:ext cx="5259704" cy="4096315"/>
          </a:xfrm>
        </p:spPr>
        <p:txBody>
          <a:bodyPr>
            <a:noAutofit/>
          </a:bodyPr>
          <a:lstStyle>
            <a:lvl1pPr marL="233363" indent="-23336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accent5">
                    <a:lumMod val="75000"/>
                  </a:schemeClr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8784723-4AFA-4742-ADCB-358652FF6F72}"/>
              </a:ext>
            </a:extLst>
          </p:cNvPr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22" name="object 2">
              <a:extLst>
                <a:ext uri="{FF2B5EF4-FFF2-40B4-BE49-F238E27FC236}">
                  <a16:creationId xmlns:a16="http://schemas.microsoft.com/office/drawing/2014/main" id="{4F62F695-717D-374C-802D-7FEBEAD6FE46}"/>
                </a:ext>
              </a:extLst>
            </p:cNvPr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rgbClr val="00A6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3">
              <a:extLst>
                <a:ext uri="{FF2B5EF4-FFF2-40B4-BE49-F238E27FC236}">
                  <a16:creationId xmlns:a16="http://schemas.microsoft.com/office/drawing/2014/main" id="{B392FAE7-9F0A-8D4D-94F3-8E024FD2710E}"/>
                </a:ext>
              </a:extLst>
            </p:cNvPr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>
            <a:extLst>
              <a:ext uri="{FF2B5EF4-FFF2-40B4-BE49-F238E27FC236}">
                <a16:creationId xmlns:a16="http://schemas.microsoft.com/office/drawing/2014/main" id="{70D3D3E5-0E23-274C-9962-BEA8E59E9D56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1" y="159548"/>
            <a:ext cx="10937489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5259704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5259704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CF1B3AAF-D0DD-7744-AFEC-DBCE571A97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94924" y="1287609"/>
            <a:ext cx="5259704" cy="42159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B330AF-1672-334C-B0B1-C1C9AD1B8438}"/>
              </a:ext>
            </a:extLst>
          </p:cNvPr>
          <p:cNvCxnSpPr>
            <a:cxnSpLocks/>
          </p:cNvCxnSpPr>
          <p:nvPr userDrawn="1"/>
        </p:nvCxnSpPr>
        <p:spPr>
          <a:xfrm>
            <a:off x="6294924" y="1854431"/>
            <a:ext cx="5259704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EDE34C67-EF85-5741-BCC6-1C9234DAED84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70FDC33-1114-484D-AFEB-910092DD03C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01439" y="1989298"/>
            <a:ext cx="5259704" cy="4096315"/>
          </a:xfrm>
        </p:spPr>
        <p:txBody>
          <a:bodyPr>
            <a:noAutofit/>
          </a:bodyPr>
          <a:lstStyle>
            <a:lvl1pPr marL="233363" indent="-23336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accent5">
                    <a:lumMod val="75000"/>
                  </a:schemeClr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6457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2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FC681BB-3089-4646-B0AF-06FD3D7576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231" y="1997927"/>
            <a:ext cx="3344092" cy="409630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70D3D3E5-0E23-274C-9962-BEA8E59E9D56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3344092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F7A1BCF4-A8A2-6245-A98E-69AAAE820C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36515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8B64A02-492D-FE46-8E47-7D3C8EF0DFE6}"/>
              </a:ext>
            </a:extLst>
          </p:cNvPr>
          <p:cNvCxnSpPr>
            <a:cxnSpLocks/>
          </p:cNvCxnSpPr>
          <p:nvPr userDrawn="1"/>
        </p:nvCxnSpPr>
        <p:spPr>
          <a:xfrm>
            <a:off x="4436515" y="1854431"/>
            <a:ext cx="3344092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EAB7758D-1263-9340-B58E-8BCF64EAE3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5517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09C1042-81DA-7544-BC1C-27DB8E4DED8E}"/>
              </a:ext>
            </a:extLst>
          </p:cNvPr>
          <p:cNvCxnSpPr>
            <a:cxnSpLocks/>
          </p:cNvCxnSpPr>
          <p:nvPr userDrawn="1"/>
        </p:nvCxnSpPr>
        <p:spPr>
          <a:xfrm>
            <a:off x="8235517" y="1854431"/>
            <a:ext cx="3344092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0729F0B-7D7C-4E45-A2F5-2638A8899581}"/>
              </a:ext>
            </a:extLst>
          </p:cNvPr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39" name="object 2">
              <a:extLst>
                <a:ext uri="{FF2B5EF4-FFF2-40B4-BE49-F238E27FC236}">
                  <a16:creationId xmlns:a16="http://schemas.microsoft.com/office/drawing/2014/main" id="{0A7B2C8C-0511-364F-88EC-07A6DFE862AA}"/>
                </a:ext>
              </a:extLst>
            </p:cNvPr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3">
              <a:extLst>
                <a:ext uri="{FF2B5EF4-FFF2-40B4-BE49-F238E27FC236}">
                  <a16:creationId xmlns:a16="http://schemas.microsoft.com/office/drawing/2014/main" id="{19CE5A06-E2B8-AD47-BBCE-A064E7267E5D}"/>
                </a:ext>
              </a:extLst>
            </p:cNvPr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1" name="Title 23">
            <a:extLst>
              <a:ext uri="{FF2B5EF4-FFF2-40B4-BE49-F238E27FC236}">
                <a16:creationId xmlns:a16="http://schemas.microsoft.com/office/drawing/2014/main" id="{DBD66D1A-0C25-3743-96E4-E9D4CA69E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1" y="168310"/>
            <a:ext cx="10970377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6AFD1CD-D5BA-6140-8A4F-0DE9E300A16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6324DD6-8922-C143-9CF7-731D4C9AD32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2373" y="1997927"/>
            <a:ext cx="3344092" cy="409630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8DA756A-F205-7E4D-A35F-5A4EC69266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235515" y="1997927"/>
            <a:ext cx="3344092" cy="409630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4923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3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6323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20" name="object 14">
            <a:extLst>
              <a:ext uri="{FF2B5EF4-FFF2-40B4-BE49-F238E27FC236}">
                <a16:creationId xmlns:a16="http://schemas.microsoft.com/office/drawing/2014/main" id="{68BB297C-4F11-B641-A0B7-87B423EC0D7B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3201D6F-B902-C14B-BB58-A6290D8E850A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0E51550-7B1F-D643-870F-108D0F6F5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031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79BB3282-881C-9E42-8CB7-B6BB0FB05F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7185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F4886CBF-A333-544D-BD50-AA45FAD785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9339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A20E48-257C-6C4C-BA1A-76666652B49E}"/>
              </a:ext>
            </a:extLst>
          </p:cNvPr>
          <p:cNvCxnSpPr>
            <a:cxnSpLocks/>
          </p:cNvCxnSpPr>
          <p:nvPr userDrawn="1"/>
        </p:nvCxnSpPr>
        <p:spPr>
          <a:xfrm>
            <a:off x="486324" y="2185352"/>
            <a:ext cx="264978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9241A30-0879-8948-AFA7-3CF869C9F734}"/>
              </a:ext>
            </a:extLst>
          </p:cNvPr>
          <p:cNvCxnSpPr>
            <a:cxnSpLocks/>
          </p:cNvCxnSpPr>
          <p:nvPr userDrawn="1"/>
        </p:nvCxnSpPr>
        <p:spPr>
          <a:xfrm>
            <a:off x="3335032" y="2185352"/>
            <a:ext cx="264978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934634E-1ACC-4548-9DB9-F129A69B59DC}"/>
              </a:ext>
            </a:extLst>
          </p:cNvPr>
          <p:cNvCxnSpPr>
            <a:cxnSpLocks/>
          </p:cNvCxnSpPr>
          <p:nvPr userDrawn="1"/>
        </p:nvCxnSpPr>
        <p:spPr>
          <a:xfrm>
            <a:off x="6207184" y="2185352"/>
            <a:ext cx="264978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C0E2431-081E-D74F-9EFC-773A52E063EC}"/>
              </a:ext>
            </a:extLst>
          </p:cNvPr>
          <p:cNvCxnSpPr>
            <a:cxnSpLocks/>
          </p:cNvCxnSpPr>
          <p:nvPr userDrawn="1"/>
        </p:nvCxnSpPr>
        <p:spPr>
          <a:xfrm>
            <a:off x="9079339" y="2185352"/>
            <a:ext cx="264978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AA5A1DE-1C37-9C49-AEAC-CD84F8249698}"/>
              </a:ext>
            </a:extLst>
          </p:cNvPr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31" name="object 2">
              <a:extLst>
                <a:ext uri="{FF2B5EF4-FFF2-40B4-BE49-F238E27FC236}">
                  <a16:creationId xmlns:a16="http://schemas.microsoft.com/office/drawing/2014/main" id="{81C8B496-17AD-854B-86A7-46CFE4A24FA1}"/>
                </a:ext>
              </a:extLst>
            </p:cNvPr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">
              <a:extLst>
                <a:ext uri="{FF2B5EF4-FFF2-40B4-BE49-F238E27FC236}">
                  <a16:creationId xmlns:a16="http://schemas.microsoft.com/office/drawing/2014/main" id="{4DAD5BCB-4F72-3A4B-8640-78A15CB0BDDB}"/>
                </a:ext>
              </a:extLst>
            </p:cNvPr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Title 23">
            <a:extLst>
              <a:ext uri="{FF2B5EF4-FFF2-40B4-BE49-F238E27FC236}">
                <a16:creationId xmlns:a16="http://schemas.microsoft.com/office/drawing/2014/main" id="{4D2D04FA-4602-C046-82B0-E34F5D5F323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2" y="168310"/>
            <a:ext cx="11119890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7E92FED-E63E-F24B-85F2-B56C4EE58B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6322" y="2341594"/>
            <a:ext cx="2649783" cy="374401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557EA5E5-DE21-554F-A8CF-0FA6E016E2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5030" y="2341594"/>
            <a:ext cx="2649783" cy="374401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81FA40-6CAF-E843-A3A5-8ED571DB89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07184" y="2341594"/>
            <a:ext cx="2649783" cy="374401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F30E4A2D-1B77-8247-A1A5-EB27F7C134D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060916" y="2354290"/>
            <a:ext cx="2649783" cy="374401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9258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1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7789555-0EA3-6B4A-BB4F-C907720FA1F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8995" y="1989298"/>
            <a:ext cx="5259704" cy="4096315"/>
          </a:xfrm>
        </p:spPr>
        <p:txBody>
          <a:bodyPr>
            <a:noAutofit/>
          </a:bodyPr>
          <a:lstStyle>
            <a:lvl1pPr marL="233363" indent="-23336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accent5">
                    <a:lumMod val="75000"/>
                  </a:schemeClr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  <p:sp>
        <p:nvSpPr>
          <p:cNvPr id="22" name="object 2">
            <a:extLst>
              <a:ext uri="{FF2B5EF4-FFF2-40B4-BE49-F238E27FC236}">
                <a16:creationId xmlns:a16="http://schemas.microsoft.com/office/drawing/2014/main" id="{4F62F695-717D-374C-802D-7FEBEAD6FE46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3">
            <a:extLst>
              <a:ext uri="{FF2B5EF4-FFF2-40B4-BE49-F238E27FC236}">
                <a16:creationId xmlns:a16="http://schemas.microsoft.com/office/drawing/2014/main" id="{B392FAE7-9F0A-8D4D-94F3-8E024FD2710E}"/>
              </a:ext>
            </a:extLst>
          </p:cNvPr>
          <p:cNvSpPr/>
          <p:nvPr userDrawn="1"/>
        </p:nvSpPr>
        <p:spPr>
          <a:xfrm>
            <a:off x="0" y="949394"/>
            <a:ext cx="12192000" cy="90512"/>
          </a:xfrm>
          <a:custGeom>
            <a:avLst/>
            <a:gdLst/>
            <a:ahLst/>
            <a:cxnLst/>
            <a:rect l="l" t="t" r="r" b="b"/>
            <a:pathLst>
              <a:path w="14630400" h="132715">
                <a:moveTo>
                  <a:pt x="0" y="132575"/>
                </a:moveTo>
                <a:lnTo>
                  <a:pt x="14630400" y="132575"/>
                </a:lnTo>
                <a:lnTo>
                  <a:pt x="14630400" y="0"/>
                </a:lnTo>
                <a:lnTo>
                  <a:pt x="0" y="0"/>
                </a:lnTo>
                <a:lnTo>
                  <a:pt x="0" y="13257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70D3D3E5-0E23-274C-9962-BEA8E59E9D56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1" y="159548"/>
            <a:ext cx="10937489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09232" y="1287610"/>
            <a:ext cx="5259704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525970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CF1B3AAF-D0DD-7744-AFEC-DBCE571A974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294924" y="1287609"/>
            <a:ext cx="5259704" cy="42159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B330AF-1672-334C-B0B1-C1C9AD1B8438}"/>
              </a:ext>
            </a:extLst>
          </p:cNvPr>
          <p:cNvCxnSpPr>
            <a:cxnSpLocks/>
          </p:cNvCxnSpPr>
          <p:nvPr userDrawn="1"/>
        </p:nvCxnSpPr>
        <p:spPr>
          <a:xfrm>
            <a:off x="6294924" y="1854431"/>
            <a:ext cx="525970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EDE34C67-EF85-5741-BCC6-1C9234DAED84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70FDC33-1114-484D-AFEB-910092DD03CA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6301439" y="1989298"/>
            <a:ext cx="5259704" cy="4096315"/>
          </a:xfrm>
        </p:spPr>
        <p:txBody>
          <a:bodyPr>
            <a:noAutofit/>
          </a:bodyPr>
          <a:lstStyle>
            <a:lvl1pPr marL="233363" indent="-23336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accent5">
                    <a:lumMod val="75000"/>
                  </a:schemeClr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78822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2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FC681BB-3089-4646-B0AF-06FD3D7576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231" y="1997927"/>
            <a:ext cx="3344092" cy="409630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70D3D3E5-0E23-274C-9962-BEA8E59E9D56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334409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F7A1BCF4-A8A2-6245-A98E-69AAAE820C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36515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8B64A02-492D-FE46-8E47-7D3C8EF0DFE6}"/>
              </a:ext>
            </a:extLst>
          </p:cNvPr>
          <p:cNvCxnSpPr>
            <a:cxnSpLocks/>
          </p:cNvCxnSpPr>
          <p:nvPr userDrawn="1"/>
        </p:nvCxnSpPr>
        <p:spPr>
          <a:xfrm>
            <a:off x="4436515" y="1854431"/>
            <a:ext cx="334409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EAB7758D-1263-9340-B58E-8BCF64EAE3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5517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09C1042-81DA-7544-BC1C-27DB8E4DED8E}"/>
              </a:ext>
            </a:extLst>
          </p:cNvPr>
          <p:cNvCxnSpPr>
            <a:cxnSpLocks/>
          </p:cNvCxnSpPr>
          <p:nvPr userDrawn="1"/>
        </p:nvCxnSpPr>
        <p:spPr>
          <a:xfrm>
            <a:off x="8235517" y="1854431"/>
            <a:ext cx="334409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bject 2">
            <a:extLst>
              <a:ext uri="{FF2B5EF4-FFF2-40B4-BE49-F238E27FC236}">
                <a16:creationId xmlns:a16="http://schemas.microsoft.com/office/drawing/2014/main" id="{0A7B2C8C-0511-364F-88EC-07A6DFE862AA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3">
            <a:extLst>
              <a:ext uri="{FF2B5EF4-FFF2-40B4-BE49-F238E27FC236}">
                <a16:creationId xmlns:a16="http://schemas.microsoft.com/office/drawing/2014/main" id="{19CE5A06-E2B8-AD47-BBCE-A064E7267E5D}"/>
              </a:ext>
            </a:extLst>
          </p:cNvPr>
          <p:cNvSpPr/>
          <p:nvPr userDrawn="1"/>
        </p:nvSpPr>
        <p:spPr>
          <a:xfrm>
            <a:off x="0" y="949394"/>
            <a:ext cx="12192000" cy="90512"/>
          </a:xfrm>
          <a:custGeom>
            <a:avLst/>
            <a:gdLst/>
            <a:ahLst/>
            <a:cxnLst/>
            <a:rect l="l" t="t" r="r" b="b"/>
            <a:pathLst>
              <a:path w="14630400" h="132715">
                <a:moveTo>
                  <a:pt x="0" y="132575"/>
                </a:moveTo>
                <a:lnTo>
                  <a:pt x="14630400" y="132575"/>
                </a:lnTo>
                <a:lnTo>
                  <a:pt x="14630400" y="0"/>
                </a:lnTo>
                <a:lnTo>
                  <a:pt x="0" y="0"/>
                </a:lnTo>
                <a:lnTo>
                  <a:pt x="0" y="13257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Title 23">
            <a:extLst>
              <a:ext uri="{FF2B5EF4-FFF2-40B4-BE49-F238E27FC236}">
                <a16:creationId xmlns:a16="http://schemas.microsoft.com/office/drawing/2014/main" id="{DBD66D1A-0C25-3743-96E4-E9D4CA69E78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1" y="168310"/>
            <a:ext cx="10970377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6AFD1CD-D5BA-6140-8A4F-0DE9E300A16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6324DD6-8922-C143-9CF7-731D4C9AD32B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4422373" y="1997927"/>
            <a:ext cx="3344092" cy="409630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8DA756A-F205-7E4D-A35F-5A4EC6926673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8235515" y="1997927"/>
            <a:ext cx="3344092" cy="409630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83233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3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6323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20" name="object 14">
            <a:extLst>
              <a:ext uri="{FF2B5EF4-FFF2-40B4-BE49-F238E27FC236}">
                <a16:creationId xmlns:a16="http://schemas.microsoft.com/office/drawing/2014/main" id="{68BB297C-4F11-B641-A0B7-87B423EC0D7B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3201D6F-B902-C14B-BB58-A6290D8E850A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0E51550-7B1F-D643-870F-108D0F6F5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031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79BB3282-881C-9E42-8CB7-B6BB0FB05F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7185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F4886CBF-A333-544D-BD50-AA45FAD785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9339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A20E48-257C-6C4C-BA1A-76666652B49E}"/>
              </a:ext>
            </a:extLst>
          </p:cNvPr>
          <p:cNvCxnSpPr>
            <a:cxnSpLocks/>
          </p:cNvCxnSpPr>
          <p:nvPr userDrawn="1"/>
        </p:nvCxnSpPr>
        <p:spPr>
          <a:xfrm>
            <a:off x="486324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9241A30-0879-8948-AFA7-3CF869C9F734}"/>
              </a:ext>
            </a:extLst>
          </p:cNvPr>
          <p:cNvCxnSpPr>
            <a:cxnSpLocks/>
          </p:cNvCxnSpPr>
          <p:nvPr userDrawn="1"/>
        </p:nvCxnSpPr>
        <p:spPr>
          <a:xfrm>
            <a:off x="3335032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934634E-1ACC-4548-9DB9-F129A69B59DC}"/>
              </a:ext>
            </a:extLst>
          </p:cNvPr>
          <p:cNvCxnSpPr>
            <a:cxnSpLocks/>
          </p:cNvCxnSpPr>
          <p:nvPr userDrawn="1"/>
        </p:nvCxnSpPr>
        <p:spPr>
          <a:xfrm>
            <a:off x="6207184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C0E2431-081E-D74F-9EFC-773A52E063EC}"/>
              </a:ext>
            </a:extLst>
          </p:cNvPr>
          <p:cNvCxnSpPr>
            <a:cxnSpLocks/>
          </p:cNvCxnSpPr>
          <p:nvPr userDrawn="1"/>
        </p:nvCxnSpPr>
        <p:spPr>
          <a:xfrm>
            <a:off x="9079339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bject 2">
            <a:extLst>
              <a:ext uri="{FF2B5EF4-FFF2-40B4-BE49-F238E27FC236}">
                <a16:creationId xmlns:a16="http://schemas.microsoft.com/office/drawing/2014/main" id="{81C8B496-17AD-854B-86A7-46CFE4A24FA1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">
            <a:extLst>
              <a:ext uri="{FF2B5EF4-FFF2-40B4-BE49-F238E27FC236}">
                <a16:creationId xmlns:a16="http://schemas.microsoft.com/office/drawing/2014/main" id="{4DAD5BCB-4F72-3A4B-8640-78A15CB0BDDB}"/>
              </a:ext>
            </a:extLst>
          </p:cNvPr>
          <p:cNvSpPr/>
          <p:nvPr userDrawn="1"/>
        </p:nvSpPr>
        <p:spPr>
          <a:xfrm>
            <a:off x="0" y="949394"/>
            <a:ext cx="12192000" cy="90512"/>
          </a:xfrm>
          <a:custGeom>
            <a:avLst/>
            <a:gdLst/>
            <a:ahLst/>
            <a:cxnLst/>
            <a:rect l="l" t="t" r="r" b="b"/>
            <a:pathLst>
              <a:path w="14630400" h="132715">
                <a:moveTo>
                  <a:pt x="0" y="132575"/>
                </a:moveTo>
                <a:lnTo>
                  <a:pt x="14630400" y="132575"/>
                </a:lnTo>
                <a:lnTo>
                  <a:pt x="14630400" y="0"/>
                </a:lnTo>
                <a:lnTo>
                  <a:pt x="0" y="0"/>
                </a:lnTo>
                <a:lnTo>
                  <a:pt x="0" y="13257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Title 23">
            <a:extLst>
              <a:ext uri="{FF2B5EF4-FFF2-40B4-BE49-F238E27FC236}">
                <a16:creationId xmlns:a16="http://schemas.microsoft.com/office/drawing/2014/main" id="{4D2D04FA-4602-C046-82B0-E34F5D5F323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2" y="168310"/>
            <a:ext cx="11119890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7E92FED-E63E-F24B-85F2-B56C4EE58BEF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86322" y="2341594"/>
            <a:ext cx="2649783" cy="374401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557EA5E5-DE21-554F-A8CF-0FA6E016E294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3335030" y="2341594"/>
            <a:ext cx="2649783" cy="374401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81FA40-6CAF-E843-A3A5-8ED571DB891C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6207184" y="2341594"/>
            <a:ext cx="2649783" cy="374401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F30E4A2D-1B77-8247-A1A5-EB27F7C134D0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9060916" y="2354290"/>
            <a:ext cx="2649783" cy="374401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87470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/>
        </p:nvSpPr>
        <p:spPr>
          <a:xfrm>
            <a:off x="8105402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1165" y="3376933"/>
            <a:ext cx="3587051" cy="334962"/>
          </a:xfrm>
        </p:spPr>
        <p:txBody>
          <a:bodyPr/>
          <a:lstStyle>
            <a:lvl1pPr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1102" y="3882109"/>
            <a:ext cx="3345069" cy="334962"/>
          </a:xfrm>
        </p:spPr>
        <p:txBody>
          <a:bodyPr/>
          <a:lstStyle>
            <a:lvl1pPr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165" y="2156693"/>
            <a:ext cx="3811904" cy="932688"/>
          </a:xfrm>
        </p:spPr>
        <p:txBody>
          <a:bodyPr>
            <a:noAutofit/>
          </a:bodyPr>
          <a:lstStyle>
            <a:lvl1pPr marL="7938" indent="-7938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epsiCo Positive</a:t>
            </a:r>
          </a:p>
          <a:p>
            <a:pPr lvl="0"/>
            <a:r>
              <a:rPr lang="en-US"/>
              <a:t>Template</a:t>
            </a:r>
          </a:p>
        </p:txBody>
      </p:sp>
      <p:pic>
        <p:nvPicPr>
          <p:cNvPr id="9" name="Picture Placeholder 8" descr="A row of wind turbines&#10;&#10;Description automatically generated with low confidence">
            <a:extLst>
              <a:ext uri="{FF2B5EF4-FFF2-40B4-BE49-F238E27FC236}">
                <a16:creationId xmlns:a16="http://schemas.microsoft.com/office/drawing/2014/main" id="{ECCBDA21-3720-EC48-BB2A-E186AD6135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4288" y="0"/>
            <a:ext cx="7526731" cy="6869788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CF808A19-85E5-7240-A188-D33E5B6857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5073" y="4644994"/>
            <a:ext cx="3895609" cy="182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0460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bject 2">
            <a:extLst>
              <a:ext uri="{FF2B5EF4-FFF2-40B4-BE49-F238E27FC236}">
                <a16:creationId xmlns:a16="http://schemas.microsoft.com/office/drawing/2014/main" id="{126C8BFA-8CF8-DD4D-A574-D97E28367D5B}"/>
              </a:ext>
            </a:extLst>
          </p:cNvPr>
          <p:cNvSpPr/>
          <p:nvPr userDrawn="1"/>
        </p:nvSpPr>
        <p:spPr>
          <a:xfrm>
            <a:off x="-9939" y="0"/>
            <a:ext cx="4082353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E89A75F-199B-D74E-9E7C-2B147373EE6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8850" y="3425372"/>
            <a:ext cx="3119299" cy="2571654"/>
          </a:xfrm>
        </p:spPr>
        <p:txBody>
          <a:bodyPr>
            <a:noAutofit/>
          </a:bodyPr>
          <a:lstStyle>
            <a:lvl1pPr marL="233363" indent="-23336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15" name="object 2">
            <a:extLst>
              <a:ext uri="{FF2B5EF4-FFF2-40B4-BE49-F238E27FC236}">
                <a16:creationId xmlns:a16="http://schemas.microsoft.com/office/drawing/2014/main" id="{9BF6C6E8-B7A4-924C-9E6C-3C4CC13FD576}"/>
              </a:ext>
            </a:extLst>
          </p:cNvPr>
          <p:cNvSpPr/>
          <p:nvPr userDrawn="1"/>
        </p:nvSpPr>
        <p:spPr>
          <a:xfrm>
            <a:off x="8109647" y="0"/>
            <a:ext cx="4082353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F8D48D0B-58D4-874E-A7BB-FCE1D81EA330}"/>
              </a:ext>
            </a:extLst>
          </p:cNvPr>
          <p:cNvSpPr/>
          <p:nvPr userDrawn="1"/>
        </p:nvSpPr>
        <p:spPr>
          <a:xfrm>
            <a:off x="4027296" y="-7257"/>
            <a:ext cx="4082352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7E0320-F79C-3B46-BE17-03E29EFE275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46328" y="670181"/>
            <a:ext cx="10515600" cy="883666"/>
          </a:xfrm>
        </p:spPr>
        <p:txBody>
          <a:bodyPr>
            <a:noAutofit/>
          </a:bodyPr>
          <a:lstStyle>
            <a:lvl1pPr algn="ctr">
              <a:defRPr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D21E6825-4ADB-4046-805F-23ADDDCA0E2B}"/>
              </a:ext>
            </a:extLst>
          </p:cNvPr>
          <p:cNvSpPr/>
          <p:nvPr userDrawn="1"/>
        </p:nvSpPr>
        <p:spPr>
          <a:xfrm>
            <a:off x="1751211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E787688-92FC-034B-9EE0-7D88C5556919}"/>
              </a:ext>
            </a:extLst>
          </p:cNvPr>
          <p:cNvCxnSpPr/>
          <p:nvPr userDrawn="1"/>
        </p:nvCxnSpPr>
        <p:spPr>
          <a:xfrm>
            <a:off x="1276350" y="309556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0DEE947-0818-3245-A202-52BD0F5B8C08}"/>
              </a:ext>
            </a:extLst>
          </p:cNvPr>
          <p:cNvCxnSpPr/>
          <p:nvPr userDrawn="1"/>
        </p:nvCxnSpPr>
        <p:spPr>
          <a:xfrm>
            <a:off x="5318760" y="309556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0E9C8AC-8AD7-3940-8EF1-2CA30256A3AE}"/>
              </a:ext>
            </a:extLst>
          </p:cNvPr>
          <p:cNvCxnSpPr>
            <a:cxnSpLocks/>
          </p:cNvCxnSpPr>
          <p:nvPr userDrawn="1"/>
        </p:nvCxnSpPr>
        <p:spPr>
          <a:xfrm>
            <a:off x="9373584" y="310046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852D0E0-2963-6D41-B973-2FA101FBD6D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75915" y="2308634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3CEE7091-C6CC-7E4E-982C-70CAE3B3A885}"/>
              </a:ext>
            </a:extLst>
          </p:cNvPr>
          <p:cNvSpPr/>
          <p:nvPr userDrawn="1"/>
        </p:nvSpPr>
        <p:spPr>
          <a:xfrm>
            <a:off x="5788448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sp>
        <p:nvSpPr>
          <p:cNvPr id="48" name="Text Placeholder 43">
            <a:extLst>
              <a:ext uri="{FF2B5EF4-FFF2-40B4-BE49-F238E27FC236}">
                <a16:creationId xmlns:a16="http://schemas.microsoft.com/office/drawing/2014/main" id="{6B80AD42-B019-154B-944C-39626896A7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16201" y="2308634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6B24090-F46C-7846-857E-10992A03ED7E}"/>
              </a:ext>
            </a:extLst>
          </p:cNvPr>
          <p:cNvSpPr/>
          <p:nvPr userDrawn="1"/>
        </p:nvSpPr>
        <p:spPr>
          <a:xfrm>
            <a:off x="9870797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518AB753-6316-3546-AF61-D6BFA84B9F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99842" y="2308634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2" name="object 14">
            <a:extLst>
              <a:ext uri="{FF2B5EF4-FFF2-40B4-BE49-F238E27FC236}">
                <a16:creationId xmlns:a16="http://schemas.microsoft.com/office/drawing/2014/main" id="{EAE9DB30-5FDF-8D47-AD1D-73ADABA63955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A880E61-EA93-4847-9DA9-82453EEC1C74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E791674-06AF-9849-B5D3-C736E8F2C6F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541561" y="3425372"/>
            <a:ext cx="3119299" cy="2571654"/>
          </a:xfrm>
        </p:spPr>
        <p:txBody>
          <a:bodyPr>
            <a:noAutofit/>
          </a:bodyPr>
          <a:lstStyle>
            <a:lvl1pPr marL="233363" indent="-23336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1E65449-ABFF-EE4C-9268-A2EA0829DED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96713" y="3425372"/>
            <a:ext cx="3119299" cy="2571654"/>
          </a:xfrm>
        </p:spPr>
        <p:txBody>
          <a:bodyPr>
            <a:noAutofit/>
          </a:bodyPr>
          <a:lstStyle>
            <a:lvl1pPr marL="233363" indent="-23336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73413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bject 2">
            <a:extLst>
              <a:ext uri="{FF2B5EF4-FFF2-40B4-BE49-F238E27FC236}">
                <a16:creationId xmlns:a16="http://schemas.microsoft.com/office/drawing/2014/main" id="{126C8BFA-8CF8-DD4D-A574-D97E28367D5B}"/>
              </a:ext>
            </a:extLst>
          </p:cNvPr>
          <p:cNvSpPr/>
          <p:nvPr userDrawn="1"/>
        </p:nvSpPr>
        <p:spPr>
          <a:xfrm>
            <a:off x="0" y="18905"/>
            <a:ext cx="4082353" cy="6647344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31" name="object 2">
            <a:extLst>
              <a:ext uri="{FF2B5EF4-FFF2-40B4-BE49-F238E27FC236}">
                <a16:creationId xmlns:a16="http://schemas.microsoft.com/office/drawing/2014/main" id="{79FFFCFB-871D-6B48-A68E-6C6B6416096A}"/>
              </a:ext>
            </a:extLst>
          </p:cNvPr>
          <p:cNvSpPr/>
          <p:nvPr userDrawn="1"/>
        </p:nvSpPr>
        <p:spPr>
          <a:xfrm>
            <a:off x="4058562" y="18905"/>
            <a:ext cx="4082353" cy="6647344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30" name="object 2">
            <a:extLst>
              <a:ext uri="{FF2B5EF4-FFF2-40B4-BE49-F238E27FC236}">
                <a16:creationId xmlns:a16="http://schemas.microsoft.com/office/drawing/2014/main" id="{ABAEA6B8-7DEA-9F44-9E74-B5D5A97A4C46}"/>
              </a:ext>
            </a:extLst>
          </p:cNvPr>
          <p:cNvSpPr/>
          <p:nvPr userDrawn="1"/>
        </p:nvSpPr>
        <p:spPr>
          <a:xfrm>
            <a:off x="8117899" y="18905"/>
            <a:ext cx="4082353" cy="6647344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27" name="bk object 16">
            <a:extLst>
              <a:ext uri="{FF2B5EF4-FFF2-40B4-BE49-F238E27FC236}">
                <a16:creationId xmlns:a16="http://schemas.microsoft.com/office/drawing/2014/main" id="{F7B57EDB-1461-3043-9229-E742D69D9BBB}"/>
              </a:ext>
            </a:extLst>
          </p:cNvPr>
          <p:cNvSpPr/>
          <p:nvPr/>
        </p:nvSpPr>
        <p:spPr>
          <a:xfrm>
            <a:off x="-6782" y="-8305"/>
            <a:ext cx="12201939" cy="116046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7E0320-F79C-3B46-BE17-03E29EFE275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03233" y="377688"/>
            <a:ext cx="11174387" cy="883666"/>
          </a:xfrm>
        </p:spPr>
        <p:txBody>
          <a:bodyPr>
            <a:noAutofit/>
          </a:bodyPr>
          <a:lstStyle>
            <a:lvl1pPr>
              <a:defRPr sz="35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D21E6825-4ADB-4046-805F-23ADDDCA0E2B}"/>
              </a:ext>
            </a:extLst>
          </p:cNvPr>
          <p:cNvSpPr/>
          <p:nvPr userDrawn="1"/>
        </p:nvSpPr>
        <p:spPr>
          <a:xfrm>
            <a:off x="1751211" y="1813506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E787688-92FC-034B-9EE0-7D88C5556919}"/>
              </a:ext>
            </a:extLst>
          </p:cNvPr>
          <p:cNvCxnSpPr/>
          <p:nvPr userDrawn="1"/>
        </p:nvCxnSpPr>
        <p:spPr>
          <a:xfrm>
            <a:off x="1276350" y="258465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0DEE947-0818-3245-A202-52BD0F5B8C08}"/>
              </a:ext>
            </a:extLst>
          </p:cNvPr>
          <p:cNvCxnSpPr/>
          <p:nvPr userDrawn="1"/>
        </p:nvCxnSpPr>
        <p:spPr>
          <a:xfrm>
            <a:off x="5331515" y="258465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0E9C8AC-8AD7-3940-8EF1-2CA30256A3AE}"/>
              </a:ext>
            </a:extLst>
          </p:cNvPr>
          <p:cNvCxnSpPr/>
          <p:nvPr userDrawn="1"/>
        </p:nvCxnSpPr>
        <p:spPr>
          <a:xfrm>
            <a:off x="9437578" y="258465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5FD68BD9-5CD9-7A4A-BABD-0A9E824874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4379" y="265817"/>
            <a:ext cx="11143259" cy="377825"/>
          </a:xfrm>
        </p:spPr>
        <p:txBody>
          <a:bodyPr>
            <a:noAutofit/>
          </a:bodyPr>
          <a:lstStyle>
            <a:lvl1pPr>
              <a:buNone/>
              <a:defRPr sz="15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ENTER YOUR SUBTITLE ALL-CAPS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3CEE7091-C6CC-7E4E-982C-70CAE3B3A885}"/>
              </a:ext>
            </a:extLst>
          </p:cNvPr>
          <p:cNvSpPr/>
          <p:nvPr userDrawn="1"/>
        </p:nvSpPr>
        <p:spPr>
          <a:xfrm>
            <a:off x="5814163" y="1813506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6B24090-F46C-7846-857E-10992A03ED7E}"/>
              </a:ext>
            </a:extLst>
          </p:cNvPr>
          <p:cNvSpPr/>
          <p:nvPr userDrawn="1"/>
        </p:nvSpPr>
        <p:spPr>
          <a:xfrm>
            <a:off x="9895969" y="1813506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sp>
        <p:nvSpPr>
          <p:cNvPr id="24" name="object 14">
            <a:extLst>
              <a:ext uri="{FF2B5EF4-FFF2-40B4-BE49-F238E27FC236}">
                <a16:creationId xmlns:a16="http://schemas.microsoft.com/office/drawing/2014/main" id="{1C69DED8-643C-6E49-A069-700362109F72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rgbClr val="0052DB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B6BB682-8B16-0D4F-B52B-20D85F1EC7C3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object 3">
            <a:extLst>
              <a:ext uri="{FF2B5EF4-FFF2-40B4-BE49-F238E27FC236}">
                <a16:creationId xmlns:a16="http://schemas.microsoft.com/office/drawing/2014/main" id="{79AB6187-F2A0-FC46-B74D-0A946665D99C}"/>
              </a:ext>
            </a:extLst>
          </p:cNvPr>
          <p:cNvSpPr/>
          <p:nvPr userDrawn="1"/>
        </p:nvSpPr>
        <p:spPr>
          <a:xfrm>
            <a:off x="-1811" y="1152158"/>
            <a:ext cx="12201939" cy="90512"/>
          </a:xfrm>
          <a:custGeom>
            <a:avLst/>
            <a:gdLst/>
            <a:ahLst/>
            <a:cxnLst/>
            <a:rect l="l" t="t" r="r" b="b"/>
            <a:pathLst>
              <a:path w="14630400" h="132715">
                <a:moveTo>
                  <a:pt x="0" y="132575"/>
                </a:moveTo>
                <a:lnTo>
                  <a:pt x="14630400" y="132575"/>
                </a:lnTo>
                <a:lnTo>
                  <a:pt x="14630400" y="0"/>
                </a:lnTo>
                <a:lnTo>
                  <a:pt x="0" y="0"/>
                </a:lnTo>
                <a:lnTo>
                  <a:pt x="0" y="132575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84C67AA-50F8-7247-AEEA-8C7461851C6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7212" y="2894013"/>
            <a:ext cx="2968047" cy="2861644"/>
          </a:xfrm>
        </p:spPr>
        <p:txBody>
          <a:bodyPr>
            <a:noAutofit/>
          </a:bodyPr>
          <a:lstStyle>
            <a:lvl1pPr marL="233363" indent="-23336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FF5D9AB-1133-1A4D-9285-F147791A9C6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05774" y="2894013"/>
            <a:ext cx="2968047" cy="2861644"/>
          </a:xfrm>
        </p:spPr>
        <p:txBody>
          <a:bodyPr>
            <a:noAutofit/>
          </a:bodyPr>
          <a:lstStyle>
            <a:lvl1pPr marL="233363" indent="-23336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1AC9D599-050A-AA4E-B159-60A4490F386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675051" y="2894013"/>
            <a:ext cx="2968047" cy="2861644"/>
          </a:xfrm>
        </p:spPr>
        <p:txBody>
          <a:bodyPr>
            <a:noAutofit/>
          </a:bodyPr>
          <a:lstStyle>
            <a:lvl1pPr marL="233363" indent="-23336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32" name="Text Placeholder 43">
            <a:extLst>
              <a:ext uri="{FF2B5EF4-FFF2-40B4-BE49-F238E27FC236}">
                <a16:creationId xmlns:a16="http://schemas.microsoft.com/office/drawing/2014/main" id="{F881DEDF-5197-4082-A943-DB460C232A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75915" y="1912845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F1228458-761B-49C9-A3BD-1370418A0F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43497" y="1912845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37" name="Text Placeholder 43">
            <a:extLst>
              <a:ext uri="{FF2B5EF4-FFF2-40B4-BE49-F238E27FC236}">
                <a16:creationId xmlns:a16="http://schemas.microsoft.com/office/drawing/2014/main" id="{36AE5F84-EAA5-48EB-8342-775E6D908E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40786" y="1912845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5232398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bject 2">
            <a:extLst>
              <a:ext uri="{FF2B5EF4-FFF2-40B4-BE49-F238E27FC236}">
                <a16:creationId xmlns:a16="http://schemas.microsoft.com/office/drawing/2014/main" id="{AF9EEA82-5990-F847-8B4D-E725893922FD}"/>
              </a:ext>
            </a:extLst>
          </p:cNvPr>
          <p:cNvSpPr/>
          <p:nvPr userDrawn="1"/>
        </p:nvSpPr>
        <p:spPr>
          <a:xfrm>
            <a:off x="47989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52" name="object 2">
            <a:extLst>
              <a:ext uri="{FF2B5EF4-FFF2-40B4-BE49-F238E27FC236}">
                <a16:creationId xmlns:a16="http://schemas.microsoft.com/office/drawing/2014/main" id="{15E19BCA-6990-FF4D-BF2F-57B5929A6AB4}"/>
              </a:ext>
            </a:extLst>
          </p:cNvPr>
          <p:cNvSpPr/>
          <p:nvPr userDrawn="1"/>
        </p:nvSpPr>
        <p:spPr>
          <a:xfrm>
            <a:off x="72881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53" name="object 2">
            <a:extLst>
              <a:ext uri="{FF2B5EF4-FFF2-40B4-BE49-F238E27FC236}">
                <a16:creationId xmlns:a16="http://schemas.microsoft.com/office/drawing/2014/main" id="{39124CAF-DA73-9D41-A0F0-4525946FEACF}"/>
              </a:ext>
            </a:extLst>
          </p:cNvPr>
          <p:cNvSpPr/>
          <p:nvPr userDrawn="1"/>
        </p:nvSpPr>
        <p:spPr>
          <a:xfrm>
            <a:off x="9764600" y="0"/>
            <a:ext cx="242740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54" name="object 2">
            <a:extLst>
              <a:ext uri="{FF2B5EF4-FFF2-40B4-BE49-F238E27FC236}">
                <a16:creationId xmlns:a16="http://schemas.microsoft.com/office/drawing/2014/main" id="{4913DA6F-DBCF-0141-B7AD-DBA48355ABDB}"/>
              </a:ext>
            </a:extLst>
          </p:cNvPr>
          <p:cNvSpPr/>
          <p:nvPr userDrawn="1"/>
        </p:nvSpPr>
        <p:spPr>
          <a:xfrm>
            <a:off x="0" y="0"/>
            <a:ext cx="23280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58" name="object 2">
            <a:extLst>
              <a:ext uri="{FF2B5EF4-FFF2-40B4-BE49-F238E27FC236}">
                <a16:creationId xmlns:a16="http://schemas.microsoft.com/office/drawing/2014/main" id="{E00BF257-0D6D-8141-A7E4-83D491757120}"/>
              </a:ext>
            </a:extLst>
          </p:cNvPr>
          <p:cNvSpPr/>
          <p:nvPr userDrawn="1"/>
        </p:nvSpPr>
        <p:spPr>
          <a:xfrm>
            <a:off x="23097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B31E5A3-020D-7E4F-A87B-5A45BF3BB613}"/>
              </a:ext>
            </a:extLst>
          </p:cNvPr>
          <p:cNvCxnSpPr>
            <a:cxnSpLocks/>
          </p:cNvCxnSpPr>
          <p:nvPr userDrawn="1"/>
        </p:nvCxnSpPr>
        <p:spPr>
          <a:xfrm>
            <a:off x="390593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D76473E-B6B4-964B-B0EC-72FDC57362A2}"/>
              </a:ext>
            </a:extLst>
          </p:cNvPr>
          <p:cNvCxnSpPr>
            <a:cxnSpLocks/>
          </p:cNvCxnSpPr>
          <p:nvPr userDrawn="1"/>
        </p:nvCxnSpPr>
        <p:spPr>
          <a:xfrm>
            <a:off x="2779874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757E0E07-3915-B04B-8AFC-0F7840CB2A08}"/>
              </a:ext>
            </a:extLst>
          </p:cNvPr>
          <p:cNvCxnSpPr>
            <a:cxnSpLocks/>
          </p:cNvCxnSpPr>
          <p:nvPr userDrawn="1"/>
        </p:nvCxnSpPr>
        <p:spPr>
          <a:xfrm>
            <a:off x="5308117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8B8BAAAA-1FC8-504B-8F64-E895C8F23CD0}"/>
              </a:ext>
            </a:extLst>
          </p:cNvPr>
          <p:cNvCxnSpPr>
            <a:cxnSpLocks/>
          </p:cNvCxnSpPr>
          <p:nvPr userDrawn="1"/>
        </p:nvCxnSpPr>
        <p:spPr>
          <a:xfrm>
            <a:off x="7755482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2251DFE-9E58-6E44-BFE8-816852ACB3C8}"/>
              </a:ext>
            </a:extLst>
          </p:cNvPr>
          <p:cNvCxnSpPr>
            <a:cxnSpLocks/>
          </p:cNvCxnSpPr>
          <p:nvPr userDrawn="1"/>
        </p:nvCxnSpPr>
        <p:spPr>
          <a:xfrm>
            <a:off x="10243938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ED9459-6CCA-8A4F-925C-EE8B944C3E81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42321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E4C36B83-1666-F442-9A9A-8D7FD9AB45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625972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593A6492-91F9-0E4D-ADAB-7C1320DB190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5125568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9EBBEBFD-0D8B-494F-9069-98CE3ACC2FD0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7605292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3D48B941-4416-AE48-89CF-A7CE72EFEE49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10052787" y="1500435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0" name="object 14">
            <a:extLst>
              <a:ext uri="{FF2B5EF4-FFF2-40B4-BE49-F238E27FC236}">
                <a16:creationId xmlns:a16="http://schemas.microsoft.com/office/drawing/2014/main" id="{9850939C-CC9F-424C-B270-A177E64B99E9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43141BE-F63B-7E4D-A54E-9706B74501B9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F340385-6A4B-664A-8CBF-3D149D520505}"/>
              </a:ext>
            </a:extLst>
          </p:cNvPr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37" name="object 2">
              <a:extLst>
                <a:ext uri="{FF2B5EF4-FFF2-40B4-BE49-F238E27FC236}">
                  <a16:creationId xmlns:a16="http://schemas.microsoft.com/office/drawing/2014/main" id="{8B9E3A6C-84CD-5A4B-B2CE-DB99E2473091}"/>
                </a:ext>
              </a:extLst>
            </p:cNvPr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">
              <a:extLst>
                <a:ext uri="{FF2B5EF4-FFF2-40B4-BE49-F238E27FC236}">
                  <a16:creationId xmlns:a16="http://schemas.microsoft.com/office/drawing/2014/main" id="{3F727E51-840E-D54F-AA7D-03BAE398CBE0}"/>
                </a:ext>
              </a:extLst>
            </p:cNvPr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3" name="Title 23">
            <a:extLst>
              <a:ext uri="{FF2B5EF4-FFF2-40B4-BE49-F238E27FC236}">
                <a16:creationId xmlns:a16="http://schemas.microsoft.com/office/drawing/2014/main" id="{78D9CE9E-B3F6-B24C-9944-5A28362BC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10"/>
            <a:ext cx="10973168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4751065-9A78-254F-9A6E-0EE07F6D11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2321" y="2342767"/>
            <a:ext cx="1851025" cy="377708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bg1"/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1C068CD-C650-1D48-8F03-0427B38B639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636313" y="2342767"/>
            <a:ext cx="1851025" cy="377708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bg1"/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F888638-C8D0-314F-BFB6-71437DA9D5F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129251" y="2342767"/>
            <a:ext cx="1851025" cy="377708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bg1"/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EF9F160F-57D2-9246-A8A0-73575DEC44D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12821" y="2342767"/>
            <a:ext cx="1851025" cy="377708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bg1"/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8897BF13-3B60-0A44-9B4C-A6E1BFCBEAF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052786" y="2342767"/>
            <a:ext cx="1851025" cy="3777089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bg1"/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37157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">
            <a:extLst>
              <a:ext uri="{FF2B5EF4-FFF2-40B4-BE49-F238E27FC236}">
                <a16:creationId xmlns:a16="http://schemas.microsoft.com/office/drawing/2014/main" id="{9BF6C6E8-B7A4-924C-9E6C-3C4CC13FD576}"/>
              </a:ext>
            </a:extLst>
          </p:cNvPr>
          <p:cNvSpPr/>
          <p:nvPr userDrawn="1"/>
        </p:nvSpPr>
        <p:spPr>
          <a:xfrm>
            <a:off x="5794873" y="0"/>
            <a:ext cx="6397128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03BC5CC-CAA3-D049-9685-2BC1EA3EB9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3078" y="2201707"/>
            <a:ext cx="5346814" cy="3921871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7E0320-F79C-3B46-BE17-03E29EFE275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324076" y="1633403"/>
            <a:ext cx="4762824" cy="492492"/>
          </a:xfrm>
        </p:spPr>
        <p:txBody>
          <a:bodyPr>
            <a:noAutofit/>
          </a:bodyPr>
          <a:lstStyle>
            <a:lvl1pPr algn="l">
              <a:defRPr sz="35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6B24090-F46C-7846-857E-10992A03ED7E}"/>
              </a:ext>
            </a:extLst>
          </p:cNvPr>
          <p:cNvSpPr/>
          <p:nvPr userDrawn="1"/>
        </p:nvSpPr>
        <p:spPr>
          <a:xfrm>
            <a:off x="6410011" y="1134188"/>
            <a:ext cx="412305" cy="42340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518AB753-6316-3546-AF61-D6BFA84B9F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17698" y="1208595"/>
            <a:ext cx="211536" cy="273638"/>
          </a:xfrm>
        </p:spPr>
        <p:txBody>
          <a:bodyPr anchor="ctr"/>
          <a:lstStyle>
            <a:lvl1pPr algn="ctr">
              <a:buNone/>
              <a:defRPr sz="2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4516C56-B7D0-2043-88BA-8E3EAEBDB88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-1"/>
            <a:ext cx="5794375" cy="66040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2" name="object 14">
            <a:extLst>
              <a:ext uri="{FF2B5EF4-FFF2-40B4-BE49-F238E27FC236}">
                <a16:creationId xmlns:a16="http://schemas.microsoft.com/office/drawing/2014/main" id="{482D10F7-2B28-8F42-B116-5443A322C40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2830B3-62CE-324A-95A1-276C02A173C4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18254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CD18E84-1055-444B-B07B-8F65FEBD712B}"/>
              </a:ext>
            </a:extLst>
          </p:cNvPr>
          <p:cNvSpPr/>
          <p:nvPr userDrawn="1"/>
        </p:nvSpPr>
        <p:spPr>
          <a:xfrm>
            <a:off x="0" y="0"/>
            <a:ext cx="4094922" cy="6741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CF4775-257A-094B-9B35-AF76CEE301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2158" y="461708"/>
            <a:ext cx="2881785" cy="2945079"/>
          </a:xfrm>
        </p:spPr>
        <p:txBody>
          <a:bodyPr>
            <a:noAutofit/>
          </a:bodyPr>
          <a:lstStyle>
            <a:lvl1pPr marL="0" indent="0">
              <a:buNone/>
              <a:tabLst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92150" indent="-234950">
              <a:buFont typeface="Courier New" panose="02070309020205020404" pitchFamily="49" charset="0"/>
              <a:buChar char="o"/>
              <a:tabLst/>
              <a:defRPr sz="2400">
                <a:solidFill>
                  <a:schemeClr val="bg1"/>
                </a:solidFill>
              </a:defRPr>
            </a:lvl2pPr>
            <a:lvl3pPr marL="1154113" indent="-239713">
              <a:buFont typeface="Courier New" panose="02070309020205020404" pitchFamily="49" charset="0"/>
              <a:buChar char="o"/>
              <a:tabLst/>
              <a:defRPr sz="2300">
                <a:solidFill>
                  <a:schemeClr val="bg1"/>
                </a:solidFill>
              </a:defRPr>
            </a:lvl3pPr>
            <a:lvl4pPr marL="1603375" indent="-231775">
              <a:buFont typeface="Courier New" panose="02070309020205020404" pitchFamily="49" charset="0"/>
              <a:buChar char="o"/>
              <a:tabLst/>
              <a:defRPr sz="2200">
                <a:solidFill>
                  <a:schemeClr val="bg1"/>
                </a:solidFill>
              </a:defRPr>
            </a:lvl4pPr>
            <a:lvl5pPr marL="2065338" indent="-236538">
              <a:buFont typeface="Courier New" panose="02070309020205020404" pitchFamily="49" charset="0"/>
              <a:buChar char="o"/>
              <a:tabLst/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2640D3-C16E-3640-ADAB-6A1348541A32}"/>
              </a:ext>
            </a:extLst>
          </p:cNvPr>
          <p:cNvSpPr/>
          <p:nvPr userDrawn="1"/>
        </p:nvSpPr>
        <p:spPr>
          <a:xfrm>
            <a:off x="3484479" y="-2526"/>
            <a:ext cx="3334709" cy="34093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D7AFB1E-6494-D141-AE24-87F3C83310E9}"/>
              </a:ext>
            </a:extLst>
          </p:cNvPr>
          <p:cNvSpPr/>
          <p:nvPr userDrawn="1"/>
        </p:nvSpPr>
        <p:spPr>
          <a:xfrm>
            <a:off x="3482789" y="3406789"/>
            <a:ext cx="5687716" cy="320177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6C6479F-886E-EF46-AE34-68E3F449F8A4}"/>
              </a:ext>
            </a:extLst>
          </p:cNvPr>
          <p:cNvSpPr/>
          <p:nvPr userDrawn="1"/>
        </p:nvSpPr>
        <p:spPr>
          <a:xfrm>
            <a:off x="9170505" y="3406788"/>
            <a:ext cx="3021495" cy="32017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4FB3F97A-6B5A-4342-AFD3-F66711EB08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7651" y="221366"/>
            <a:ext cx="2559050" cy="290708"/>
          </a:xfrm>
        </p:spPr>
        <p:txBody>
          <a:bodyPr>
            <a:noAutofit/>
          </a:bodyPr>
          <a:lstStyle>
            <a:lvl1pPr>
              <a:buNone/>
              <a:defRPr sz="15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ROJECT 1 ALL-CAP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F6077739-6487-3D40-BCAF-9D06A4A9B8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94995" y="221366"/>
            <a:ext cx="2559050" cy="290708"/>
          </a:xfrm>
        </p:spPr>
        <p:txBody>
          <a:bodyPr>
            <a:noAutofit/>
          </a:bodyPr>
          <a:lstStyle>
            <a:lvl1pPr>
              <a:buNone/>
              <a:defRPr sz="15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ROJECT 2 ALL-CAP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96DA42-6DC0-C041-9701-6C97BB14C01C}"/>
              </a:ext>
            </a:extLst>
          </p:cNvPr>
          <p:cNvSpPr/>
          <p:nvPr userDrawn="1"/>
        </p:nvSpPr>
        <p:spPr>
          <a:xfrm>
            <a:off x="6819188" y="-2526"/>
            <a:ext cx="5372811" cy="34093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bject 14">
            <a:extLst>
              <a:ext uri="{FF2B5EF4-FFF2-40B4-BE49-F238E27FC236}">
                <a16:creationId xmlns:a16="http://schemas.microsoft.com/office/drawing/2014/main" id="{B92EC240-4A2E-6E41-A6D9-1435ED038518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A5DC5AA-25DE-B54B-8882-C8A159B02E27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D382712-3F37-6C45-BF5E-2E97DC1D81B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72169" y="461709"/>
            <a:ext cx="2881785" cy="1549972"/>
          </a:xfrm>
        </p:spPr>
        <p:txBody>
          <a:bodyPr>
            <a:noAutofit/>
          </a:bodyPr>
          <a:lstStyle>
            <a:lvl1pPr marL="0" indent="0">
              <a:buNone/>
              <a:tabLst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92150" indent="-234950">
              <a:buFont typeface="Courier New" panose="02070309020205020404" pitchFamily="49" charset="0"/>
              <a:buChar char="o"/>
              <a:tabLst/>
              <a:defRPr sz="2400">
                <a:solidFill>
                  <a:schemeClr val="bg1"/>
                </a:solidFill>
              </a:defRPr>
            </a:lvl2pPr>
            <a:lvl3pPr marL="1154113" indent="-239713">
              <a:buFont typeface="Courier New" panose="02070309020205020404" pitchFamily="49" charset="0"/>
              <a:buChar char="o"/>
              <a:tabLst/>
              <a:defRPr sz="2300">
                <a:solidFill>
                  <a:schemeClr val="bg1"/>
                </a:solidFill>
              </a:defRPr>
            </a:lvl3pPr>
            <a:lvl4pPr marL="1603375" indent="-231775">
              <a:buFont typeface="Courier New" panose="02070309020205020404" pitchFamily="49" charset="0"/>
              <a:buChar char="o"/>
              <a:tabLst/>
              <a:defRPr sz="2200">
                <a:solidFill>
                  <a:schemeClr val="bg1"/>
                </a:solidFill>
              </a:defRPr>
            </a:lvl4pPr>
            <a:lvl5pPr marL="2065338" indent="-236538">
              <a:buFont typeface="Courier New" panose="02070309020205020404" pitchFamily="49" charset="0"/>
              <a:buChar char="o"/>
              <a:tabLst/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oject Name</a:t>
            </a:r>
          </a:p>
        </p:txBody>
      </p:sp>
    </p:spTree>
    <p:extLst>
      <p:ext uri="{BB962C8B-B14F-4D97-AF65-F5344CB8AC3E}">
        <p14:creationId xmlns:p14="http://schemas.microsoft.com/office/powerpoint/2010/main" val="42703434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Blocks with Caption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CD18E84-1055-444B-B07B-8F65FEBD712B}"/>
              </a:ext>
            </a:extLst>
          </p:cNvPr>
          <p:cNvSpPr/>
          <p:nvPr userDrawn="1"/>
        </p:nvSpPr>
        <p:spPr>
          <a:xfrm>
            <a:off x="0" y="-3"/>
            <a:ext cx="6096000" cy="660834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EB68EF2-518D-5A42-BF23-D9C86454DC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6400" y="2926079"/>
            <a:ext cx="5334730" cy="3242945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styles</a:t>
            </a:r>
          </a:p>
          <a:p>
            <a:pPr lvl="4"/>
            <a:r>
              <a:rPr lang="en-US"/>
              <a:t>Click to edit Master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5C4A8F5-1301-6E4E-820F-D72B6762D26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3930647" cy="2481897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BD0A1DE-F9D2-3744-8173-0216955AB39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0026648" y="0"/>
            <a:ext cx="2165351" cy="2481897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14500EC-100B-6B48-9F07-7540A86AED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0026648" y="2487614"/>
            <a:ext cx="2165352" cy="2260900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A05EE176-26A1-7843-94E4-D20577BD4EE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516813" y="2487612"/>
            <a:ext cx="2509834" cy="2246295"/>
          </a:xfrm>
        </p:spPr>
        <p:txBody>
          <a:bodyPr/>
          <a:lstStyle/>
          <a:p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7D9E9228-6638-AA44-A5ED-3C4AFC6A1C9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2487614"/>
            <a:ext cx="1420813" cy="2246296"/>
          </a:xfrm>
        </p:spPr>
        <p:txBody>
          <a:bodyPr/>
          <a:lstStyle/>
          <a:p>
            <a:endParaRPr lang="en-US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E6B28C88-6157-0040-A34D-1B7C3498927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096000" y="4748514"/>
            <a:ext cx="3357563" cy="1870115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57A7E1FF-43C3-2244-A39D-E5F7A51717D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426575" y="4754226"/>
            <a:ext cx="2765425" cy="1879007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Title 7">
            <a:extLst>
              <a:ext uri="{FF2B5EF4-FFF2-40B4-BE49-F238E27FC236}">
                <a16:creationId xmlns:a16="http://schemas.microsoft.com/office/drawing/2014/main" id="{E9143C3A-093E-5440-AA5D-A2EFCB51A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402" y="541004"/>
            <a:ext cx="5334730" cy="1946610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lang="en-US" sz="35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E1DBF8FF-44E7-8D4C-BC04-05EE0FB09AC8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9A44C63-515E-7246-AB24-6003C63CDFCA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4311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Blocks with Captio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82DDF741-4619-3147-914E-918E4E745100}"/>
              </a:ext>
            </a:extLst>
          </p:cNvPr>
          <p:cNvSpPr/>
          <p:nvPr userDrawn="1"/>
        </p:nvSpPr>
        <p:spPr>
          <a:xfrm>
            <a:off x="0" y="1953"/>
            <a:ext cx="6082748" cy="21273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4CFF24E-72BA-E04C-A221-8B0FAA3DBCA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20489" y="611233"/>
            <a:ext cx="5840482" cy="1345396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bg1"/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A975E8A-74D8-C04B-8820-1EBA8392534D}"/>
              </a:ext>
            </a:extLst>
          </p:cNvPr>
          <p:cNvSpPr/>
          <p:nvPr userDrawn="1"/>
        </p:nvSpPr>
        <p:spPr>
          <a:xfrm>
            <a:off x="0" y="2133600"/>
            <a:ext cx="6082748" cy="2291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9C2A715-1DC8-3541-A6B0-C65AA36724C3}"/>
              </a:ext>
            </a:extLst>
          </p:cNvPr>
          <p:cNvSpPr/>
          <p:nvPr userDrawn="1"/>
        </p:nvSpPr>
        <p:spPr>
          <a:xfrm>
            <a:off x="0" y="4431075"/>
            <a:ext cx="6082748" cy="21772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29" name="Picture Placeholder 9">
            <a:extLst>
              <a:ext uri="{FF2B5EF4-FFF2-40B4-BE49-F238E27FC236}">
                <a16:creationId xmlns:a16="http://schemas.microsoft.com/office/drawing/2014/main" id="{59C11872-6892-784E-86B3-6982F896E45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736496" y="0"/>
            <a:ext cx="3455504" cy="20847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0" name="Picture Placeholder 9">
            <a:extLst>
              <a:ext uri="{FF2B5EF4-FFF2-40B4-BE49-F238E27FC236}">
                <a16:creationId xmlns:a16="http://schemas.microsoft.com/office/drawing/2014/main" id="{B1111639-D06C-A04A-A177-6AF17AFA8DE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82747" y="0"/>
            <a:ext cx="2653749" cy="20847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1" name="Picture Placeholder 9">
            <a:extLst>
              <a:ext uri="{FF2B5EF4-FFF2-40B4-BE49-F238E27FC236}">
                <a16:creationId xmlns:a16="http://schemas.microsoft.com/office/drawing/2014/main" id="{4E3761BD-4C97-2E4D-81DC-7555C01A83F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82747" y="2090765"/>
            <a:ext cx="3631269" cy="21474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753F2BAC-8853-E046-8124-933C9A25CBE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714016" y="2090764"/>
            <a:ext cx="2493818" cy="284465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4" name="Picture Placeholder 9">
            <a:extLst>
              <a:ext uri="{FF2B5EF4-FFF2-40B4-BE49-F238E27FC236}">
                <a16:creationId xmlns:a16="http://schemas.microsoft.com/office/drawing/2014/main" id="{47A7B0CD-6082-594C-A8AF-AB6FEDBBA6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82747" y="4238401"/>
            <a:ext cx="3631269" cy="236994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5" name="Picture Placeholder 9">
            <a:extLst>
              <a:ext uri="{FF2B5EF4-FFF2-40B4-BE49-F238E27FC236}">
                <a16:creationId xmlns:a16="http://schemas.microsoft.com/office/drawing/2014/main" id="{BC1F2C4C-D74F-9641-A92D-6B8EF605E9E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714016" y="4945961"/>
            <a:ext cx="2493818" cy="166238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6B826EBB-F734-8845-873F-548D7E6A93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2643" y="106534"/>
            <a:ext cx="5840482" cy="365126"/>
          </a:xfrm>
        </p:spPr>
        <p:txBody>
          <a:bodyPr anchor="ctr">
            <a:noAutofit/>
          </a:bodyPr>
          <a:lstStyle>
            <a:lvl1pPr>
              <a:buNone/>
              <a:defRPr sz="2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 ALL-CAP 1</a:t>
            </a:r>
          </a:p>
        </p:txBody>
      </p:sp>
      <p:sp>
        <p:nvSpPr>
          <p:cNvPr id="24" name="Text Placeholder 50">
            <a:extLst>
              <a:ext uri="{FF2B5EF4-FFF2-40B4-BE49-F238E27FC236}">
                <a16:creationId xmlns:a16="http://schemas.microsoft.com/office/drawing/2014/main" id="{1DCAE723-DF56-0041-A237-3300B434206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12643" y="2238924"/>
            <a:ext cx="5840482" cy="365126"/>
          </a:xfrm>
        </p:spPr>
        <p:txBody>
          <a:bodyPr anchor="ctr">
            <a:noAutofit/>
          </a:bodyPr>
          <a:lstStyle>
            <a:lvl1pPr>
              <a:buNone/>
              <a:defRPr sz="2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 ALL-CAP 2</a:t>
            </a:r>
          </a:p>
        </p:txBody>
      </p:sp>
      <p:sp>
        <p:nvSpPr>
          <p:cNvPr id="27" name="Text Placeholder 50">
            <a:extLst>
              <a:ext uri="{FF2B5EF4-FFF2-40B4-BE49-F238E27FC236}">
                <a16:creationId xmlns:a16="http://schemas.microsoft.com/office/drawing/2014/main" id="{6BBDBCC1-6D71-5F40-91C8-28F08666DC7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2643" y="4570294"/>
            <a:ext cx="5840482" cy="365126"/>
          </a:xfrm>
        </p:spPr>
        <p:txBody>
          <a:bodyPr anchor="ctr">
            <a:noAutofit/>
          </a:bodyPr>
          <a:lstStyle>
            <a:lvl1pPr>
              <a:buNone/>
              <a:defRPr sz="2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 ALL-CAP 3</a:t>
            </a:r>
          </a:p>
        </p:txBody>
      </p:sp>
      <p:sp>
        <p:nvSpPr>
          <p:cNvPr id="20" name="object 14">
            <a:extLst>
              <a:ext uri="{FF2B5EF4-FFF2-40B4-BE49-F238E27FC236}">
                <a16:creationId xmlns:a16="http://schemas.microsoft.com/office/drawing/2014/main" id="{7565DC0F-34B9-764F-9BED-8CE52E32BDD4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14105E9-038A-0949-9598-6A3CCED21239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229F7E6-BA22-1F42-8000-1D477E69F62A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20489" y="2738628"/>
            <a:ext cx="5840482" cy="1345396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bg1"/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2506A15-4EC5-A141-B048-FD753B9A023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12643" y="5074639"/>
            <a:ext cx="5840482" cy="1345396"/>
          </a:xfrm>
        </p:spPr>
        <p:txBody>
          <a:bodyPr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22288" marR="0" indent="-2365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63600" indent="-2238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500">
                <a:solidFill>
                  <a:schemeClr val="bg1"/>
                </a:solidFill>
              </a:defRPr>
            </a:lvl3pPr>
            <a:lvl4pPr marL="1258888" indent="-2365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4pPr>
            <a:lvl5pPr marL="1663700" indent="-2444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1881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A728BD0-5F1F-E54C-B006-FFBE2BF34149}"/>
              </a:ext>
            </a:extLst>
          </p:cNvPr>
          <p:cNvSpPr/>
          <p:nvPr userDrawn="1"/>
        </p:nvSpPr>
        <p:spPr>
          <a:xfrm>
            <a:off x="0" y="0"/>
            <a:ext cx="7777728" cy="66085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F36880C-E561-124D-AF8D-6A9A986E24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073" y="703110"/>
            <a:ext cx="6276095" cy="5307398"/>
          </a:xfrm>
        </p:spPr>
        <p:txBody>
          <a:bodyPr>
            <a:noAutofit/>
          </a:bodyPr>
          <a:lstStyle>
            <a:lvl1pPr marL="519113" indent="-51911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6125" marR="0" indent="-460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6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7438" indent="-447675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6000">
                <a:solidFill>
                  <a:schemeClr val="bg1"/>
                </a:solidFill>
              </a:defRPr>
            </a:lvl3pPr>
            <a:lvl4pPr marL="1493838" indent="-47148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4pPr>
            <a:lvl5pPr marL="1887538" indent="-468313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3FA00CF5-0739-3E48-A7D2-EF529F102C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8841" y="0"/>
            <a:ext cx="4433159" cy="4437264"/>
          </a:xfrm>
          <a:prstGeom prst="rect">
            <a:avLst/>
          </a:prstGeom>
        </p:spPr>
      </p:pic>
      <p:pic>
        <p:nvPicPr>
          <p:cNvPr id="8" name="Picture 7" descr="Diagram, venn diagram&#10;&#10;Description automatically generated">
            <a:extLst>
              <a:ext uri="{FF2B5EF4-FFF2-40B4-BE49-F238E27FC236}">
                <a16:creationId xmlns:a16="http://schemas.microsoft.com/office/drawing/2014/main" id="{261F7FD4-BA91-614D-AD6C-C7A4601D15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8841" y="4398836"/>
            <a:ext cx="2214221" cy="2216271"/>
          </a:xfrm>
          <a:prstGeom prst="rect">
            <a:avLst/>
          </a:prstGeom>
        </p:spPr>
      </p:pic>
      <p:pic>
        <p:nvPicPr>
          <p:cNvPr id="17" name="Picture 16" descr="Shape&#10;&#10;Description automatically generated">
            <a:extLst>
              <a:ext uri="{FF2B5EF4-FFF2-40B4-BE49-F238E27FC236}">
                <a16:creationId xmlns:a16="http://schemas.microsoft.com/office/drawing/2014/main" id="{820CB2B6-6694-594D-8A7B-B25E5C82EE5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3062" y="4398836"/>
            <a:ext cx="2218938" cy="2218938"/>
          </a:xfrm>
          <a:prstGeom prst="rect">
            <a:avLst/>
          </a:prstGeom>
        </p:spPr>
      </p:pic>
      <p:sp>
        <p:nvSpPr>
          <p:cNvPr id="9" name="object 14">
            <a:extLst>
              <a:ext uri="{FF2B5EF4-FFF2-40B4-BE49-F238E27FC236}">
                <a16:creationId xmlns:a16="http://schemas.microsoft.com/office/drawing/2014/main" id="{EBBFEF2E-ABA1-7249-8E3D-9169F3FBFFB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87906-BD43-1745-81F9-112BEEE7005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40700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5" name="Picture 4" descr="Shape, circle&#10;&#10;Description automatically generated">
            <a:extLst>
              <a:ext uri="{FF2B5EF4-FFF2-40B4-BE49-F238E27FC236}">
                <a16:creationId xmlns:a16="http://schemas.microsoft.com/office/drawing/2014/main" id="{301D1105-328D-7944-8B82-AE3EB2E788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778012" y="-3608"/>
            <a:ext cx="2213816" cy="2215866"/>
          </a:xfrm>
          <a:prstGeom prst="rect">
            <a:avLst/>
          </a:prstGeom>
        </p:spPr>
      </p:pic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BC5BDB84-1C5D-264A-B22B-5718481E8B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280" y="-3608"/>
            <a:ext cx="2215866" cy="2215866"/>
          </a:xfrm>
          <a:prstGeom prst="rect">
            <a:avLst/>
          </a:prstGeom>
        </p:spPr>
      </p:pic>
      <p:pic>
        <p:nvPicPr>
          <p:cNvPr id="15" name="Picture 14" descr="Shape&#10;&#10;Description automatically generated with medium confidence">
            <a:extLst>
              <a:ext uri="{FF2B5EF4-FFF2-40B4-BE49-F238E27FC236}">
                <a16:creationId xmlns:a16="http://schemas.microsoft.com/office/drawing/2014/main" id="{C3B956ED-BFEF-294E-B42B-937A68D6678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775085" y="2209738"/>
            <a:ext cx="2213816" cy="2215866"/>
          </a:xfrm>
          <a:prstGeom prst="rect">
            <a:avLst/>
          </a:prstGeom>
        </p:spPr>
      </p:pic>
      <p:pic>
        <p:nvPicPr>
          <p:cNvPr id="17" name="Picture 16" descr="A picture containing diagram&#10;&#10;Description automatically generated">
            <a:extLst>
              <a:ext uri="{FF2B5EF4-FFF2-40B4-BE49-F238E27FC236}">
                <a16:creationId xmlns:a16="http://schemas.microsoft.com/office/drawing/2014/main" id="{27CF0C2B-1E19-C745-875A-526637B89B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8305" y="2208713"/>
            <a:ext cx="2213816" cy="2215866"/>
          </a:xfrm>
          <a:prstGeom prst="rect">
            <a:avLst/>
          </a:prstGeom>
        </p:spPr>
      </p:pic>
      <p:pic>
        <p:nvPicPr>
          <p:cNvPr id="19" name="Picture 18" descr="Chart, pie chart&#10;&#10;Description automatically generated">
            <a:extLst>
              <a:ext uri="{FF2B5EF4-FFF2-40B4-BE49-F238E27FC236}">
                <a16:creationId xmlns:a16="http://schemas.microsoft.com/office/drawing/2014/main" id="{4A160646-2700-B449-9ECE-CD02C7E9043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3464" y="4423021"/>
            <a:ext cx="2213816" cy="2215866"/>
          </a:xfrm>
          <a:prstGeom prst="rect">
            <a:avLst/>
          </a:prstGeom>
        </p:spPr>
      </p:pic>
      <p:pic>
        <p:nvPicPr>
          <p:cNvPr id="21" name="Picture 20" descr="Shape, circle&#10;&#10;Description automatically generated">
            <a:extLst>
              <a:ext uri="{FF2B5EF4-FFF2-40B4-BE49-F238E27FC236}">
                <a16:creationId xmlns:a16="http://schemas.microsoft.com/office/drawing/2014/main" id="{22E9E4D2-0D15-8F4C-A7FF-A3F1D46182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3800" y="4421641"/>
            <a:ext cx="2218321" cy="222037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45D5DD2-2E19-CA4B-AA8E-4199EABE98B3}"/>
              </a:ext>
            </a:extLst>
          </p:cNvPr>
          <p:cNvSpPr/>
          <p:nvPr userDrawn="1"/>
        </p:nvSpPr>
        <p:spPr>
          <a:xfrm>
            <a:off x="0" y="-1"/>
            <a:ext cx="7782560" cy="66388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EBBFEF2E-ABA1-7249-8E3D-9169F3FBFFB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87906-BD43-1745-81F9-112BEEE7005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679817E-4A40-C648-B0AC-4B7F8C627A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073" y="703110"/>
            <a:ext cx="6276095" cy="5307398"/>
          </a:xfrm>
        </p:spPr>
        <p:txBody>
          <a:bodyPr>
            <a:noAutofit/>
          </a:bodyPr>
          <a:lstStyle>
            <a:lvl1pPr marL="519113" indent="-51911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6125" marR="0" indent="-460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6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7438" indent="-447675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6000">
                <a:solidFill>
                  <a:schemeClr val="bg1"/>
                </a:solidFill>
              </a:defRPr>
            </a:lvl3pPr>
            <a:lvl4pPr marL="1493838" indent="-47148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4pPr>
            <a:lvl5pPr marL="1887538" indent="-468313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39723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">
            <a:extLst>
              <a:ext uri="{FF2B5EF4-FFF2-40B4-BE49-F238E27FC236}">
                <a16:creationId xmlns:a16="http://schemas.microsoft.com/office/drawing/2014/main" id="{FDF17AE2-0207-EA43-92B5-DF5BE8A668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535" y="0"/>
            <a:ext cx="11802465" cy="663888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45D5DD2-2E19-CA4B-AA8E-4199EABE98B3}"/>
              </a:ext>
            </a:extLst>
          </p:cNvPr>
          <p:cNvSpPr/>
          <p:nvPr userDrawn="1"/>
        </p:nvSpPr>
        <p:spPr>
          <a:xfrm>
            <a:off x="0" y="-1"/>
            <a:ext cx="7782560" cy="66388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EBBFEF2E-ABA1-7249-8E3D-9169F3FBFFB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87906-BD43-1745-81F9-112BEEE7005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171F254-48BE-AB44-BFD8-680E5EFACF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073" y="703110"/>
            <a:ext cx="6276095" cy="5307398"/>
          </a:xfrm>
        </p:spPr>
        <p:txBody>
          <a:bodyPr>
            <a:noAutofit/>
          </a:bodyPr>
          <a:lstStyle>
            <a:lvl1pPr marL="519113" indent="-51911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6125" marR="0" indent="-460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6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7438" indent="-447675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6000">
                <a:solidFill>
                  <a:schemeClr val="bg1"/>
                </a:solidFill>
              </a:defRPr>
            </a:lvl3pPr>
            <a:lvl4pPr marL="1493838" indent="-47148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4pPr>
            <a:lvl5pPr marL="1887538" indent="-468313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59256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/>
        </p:nvSpPr>
        <p:spPr>
          <a:xfrm>
            <a:off x="8105402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1165" y="3376933"/>
            <a:ext cx="3587051" cy="334962"/>
          </a:xfrm>
        </p:spPr>
        <p:txBody>
          <a:bodyPr/>
          <a:lstStyle>
            <a:lvl1pPr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1102" y="3882109"/>
            <a:ext cx="3345069" cy="334962"/>
          </a:xfrm>
        </p:spPr>
        <p:txBody>
          <a:bodyPr/>
          <a:lstStyle>
            <a:lvl1pPr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165" y="2156693"/>
            <a:ext cx="3811904" cy="932688"/>
          </a:xfrm>
        </p:spPr>
        <p:txBody>
          <a:bodyPr>
            <a:noAutofit/>
          </a:bodyPr>
          <a:lstStyle>
            <a:lvl1pPr marL="7938" indent="-7938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epsiCo Positive</a:t>
            </a:r>
          </a:p>
          <a:p>
            <a:pPr lvl="0"/>
            <a:r>
              <a:rPr lang="en-US"/>
              <a:t>Template</a:t>
            </a:r>
          </a:p>
        </p:txBody>
      </p:sp>
      <p:pic>
        <p:nvPicPr>
          <p:cNvPr id="5" name="Picture 4" descr="A field of wheat&#10;&#10;Description automatically generated with low confidence">
            <a:extLst>
              <a:ext uri="{FF2B5EF4-FFF2-40B4-BE49-F238E27FC236}">
                <a16:creationId xmlns:a16="http://schemas.microsoft.com/office/drawing/2014/main" id="{4D80C582-45B7-B44A-9302-CBE5B8CDD7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4288" y="2525"/>
            <a:ext cx="7526732" cy="6858000"/>
          </a:xfrm>
          <a:prstGeom prst="rect">
            <a:avLst/>
          </a:prstGeom>
        </p:spPr>
      </p:pic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300F8038-07AD-D74D-B60A-B27469049C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5073" y="4644994"/>
            <a:ext cx="3895609" cy="182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9838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5D5DD2-2E19-CA4B-AA8E-4199EABE98B3}"/>
              </a:ext>
            </a:extLst>
          </p:cNvPr>
          <p:cNvSpPr/>
          <p:nvPr userDrawn="1"/>
        </p:nvSpPr>
        <p:spPr>
          <a:xfrm>
            <a:off x="4409440" y="0"/>
            <a:ext cx="7782560" cy="66085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D29E553-7C78-5843-B13C-8A9A1E1B21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44513" y="703110"/>
            <a:ext cx="6276095" cy="5307398"/>
          </a:xfrm>
        </p:spPr>
        <p:txBody>
          <a:bodyPr>
            <a:noAutofit/>
          </a:bodyPr>
          <a:lstStyle>
            <a:lvl1pPr marL="519113" indent="-51911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6125" marR="0" indent="-460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6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7438" indent="-447675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6000">
                <a:solidFill>
                  <a:schemeClr val="bg1"/>
                </a:solidFill>
              </a:defRPr>
            </a:lvl3pPr>
            <a:lvl4pPr marL="1493838" indent="-47148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4pPr>
            <a:lvl5pPr marL="1887538" indent="-468313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8D452A2-BF8C-B247-842C-3E70087B91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22330" y="2207789"/>
            <a:ext cx="2215865" cy="2215865"/>
          </a:xfrm>
          <a:prstGeom prst="rect">
            <a:avLst/>
          </a:prstGeom>
        </p:spPr>
      </p:pic>
      <p:pic>
        <p:nvPicPr>
          <p:cNvPr id="18" name="Picture 17" descr="Shape, circle&#10;&#10;Description automatically generated">
            <a:extLst>
              <a:ext uri="{FF2B5EF4-FFF2-40B4-BE49-F238E27FC236}">
                <a16:creationId xmlns:a16="http://schemas.microsoft.com/office/drawing/2014/main" id="{00D050FC-9B85-9744-83A4-3956EA752C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2122" y="2208606"/>
            <a:ext cx="2213814" cy="2215864"/>
          </a:xfrm>
          <a:prstGeom prst="rect">
            <a:avLst/>
          </a:prstGeom>
        </p:spPr>
      </p:pic>
      <p:pic>
        <p:nvPicPr>
          <p:cNvPr id="16" name="Picture 15" descr="A picture containing diagram&#10;&#10;Description automatically generated">
            <a:extLst>
              <a:ext uri="{FF2B5EF4-FFF2-40B4-BE49-F238E27FC236}">
                <a16:creationId xmlns:a16="http://schemas.microsoft.com/office/drawing/2014/main" id="{0EEA53EB-6594-A243-8953-40990CD868F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193148" y="-9101"/>
            <a:ext cx="2215864" cy="2217916"/>
          </a:xfrm>
          <a:prstGeom prst="rect">
            <a:avLst/>
          </a:prstGeom>
        </p:spPr>
      </p:pic>
      <p:pic>
        <p:nvPicPr>
          <p:cNvPr id="21" name="Picture 20" descr="Shape&#10;&#10;Description automatically generated">
            <a:extLst>
              <a:ext uri="{FF2B5EF4-FFF2-40B4-BE49-F238E27FC236}">
                <a16:creationId xmlns:a16="http://schemas.microsoft.com/office/drawing/2014/main" id="{43D7F4C2-9656-1E4B-B7B7-3AA0F46A332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193146" y="4395557"/>
            <a:ext cx="2211766" cy="221381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5" name="Picture 4" descr="Shape, circle&#10;&#10;Description automatically generated">
            <a:extLst>
              <a:ext uri="{FF2B5EF4-FFF2-40B4-BE49-F238E27FC236}">
                <a16:creationId xmlns:a16="http://schemas.microsoft.com/office/drawing/2014/main" id="{CF8D6C01-B35A-3D46-894A-E4559F9A00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80" y="-3698"/>
            <a:ext cx="2213815" cy="2215866"/>
          </a:xfrm>
          <a:prstGeom prst="rect">
            <a:avLst/>
          </a:prstGeom>
        </p:spPr>
      </p:pic>
      <p:pic>
        <p:nvPicPr>
          <p:cNvPr id="19" name="Picture 18" descr="Shape&#10;&#10;Description automatically generated">
            <a:extLst>
              <a:ext uri="{FF2B5EF4-FFF2-40B4-BE49-F238E27FC236}">
                <a16:creationId xmlns:a16="http://schemas.microsoft.com/office/drawing/2014/main" id="{6718313F-641C-B144-B0ED-92C528E0379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20281" y="4394638"/>
            <a:ext cx="2213815" cy="2213815"/>
          </a:xfrm>
          <a:prstGeom prst="rect">
            <a:avLst/>
          </a:prstGeom>
        </p:spPr>
      </p:pic>
      <p:sp>
        <p:nvSpPr>
          <p:cNvPr id="9" name="object 14">
            <a:extLst>
              <a:ext uri="{FF2B5EF4-FFF2-40B4-BE49-F238E27FC236}">
                <a16:creationId xmlns:a16="http://schemas.microsoft.com/office/drawing/2014/main" id="{EBBFEF2E-ABA1-7249-8E3D-9169F3FBFFB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87906-BD43-1745-81F9-112BEEE7005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4889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EBA38545-20DD-F14B-86E8-80395E05428E}"/>
              </a:ext>
            </a:extLst>
          </p:cNvPr>
          <p:cNvSpPr/>
          <p:nvPr userDrawn="1"/>
        </p:nvSpPr>
        <p:spPr>
          <a:xfrm>
            <a:off x="0" y="0"/>
            <a:ext cx="8853325" cy="66085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2DCA8F0-00C5-064E-A95F-05C65ACCAC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7673" y="702899"/>
            <a:ext cx="6263495" cy="5307610"/>
          </a:xfrm>
        </p:spPr>
        <p:txBody>
          <a:bodyPr>
            <a:noAutofit/>
          </a:bodyPr>
          <a:lstStyle>
            <a:lvl1pPr marL="349250" indent="-3492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8975" marR="0" indent="-4032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3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28700" indent="-3889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969963" algn="l"/>
              </a:tabLst>
              <a:defRPr sz="3600">
                <a:solidFill>
                  <a:schemeClr val="bg1"/>
                </a:solidFill>
              </a:defRPr>
            </a:lvl3pPr>
            <a:lvl4pPr marL="1428750" indent="-40640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3600">
                <a:solidFill>
                  <a:schemeClr val="bg1"/>
                </a:solidFill>
              </a:defRPr>
            </a:lvl4pPr>
            <a:lvl5pPr marL="1828800" indent="-4095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pic>
        <p:nvPicPr>
          <p:cNvPr id="5" name="Picture 4" descr="Shape&#10;&#10;Description automatically generated">
            <a:extLst>
              <a:ext uri="{FF2B5EF4-FFF2-40B4-BE49-F238E27FC236}">
                <a16:creationId xmlns:a16="http://schemas.microsoft.com/office/drawing/2014/main" id="{4745E3E6-5D8C-814C-8069-55EE5966FF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853327" y="3266585"/>
            <a:ext cx="3338671" cy="3341762"/>
          </a:xfrm>
          <a:prstGeom prst="rect">
            <a:avLst/>
          </a:prstGeom>
        </p:spPr>
      </p:pic>
      <p:pic>
        <p:nvPicPr>
          <p:cNvPr id="3" name="Picture 2" descr="Diagram, venn diagram&#10;&#10;Description automatically generated">
            <a:extLst>
              <a:ext uri="{FF2B5EF4-FFF2-40B4-BE49-F238E27FC236}">
                <a16:creationId xmlns:a16="http://schemas.microsoft.com/office/drawing/2014/main" id="{6D152EBC-A5CC-F24B-AF17-E1B08EB33A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3330" y="0"/>
            <a:ext cx="3338670" cy="333867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EBBFEF2E-ABA1-7249-8E3D-9169F3FBFFB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87906-BD43-1745-81F9-112BEEE7005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134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D090E092-A631-CD41-B00D-687A60B8A42A}"/>
              </a:ext>
            </a:extLst>
          </p:cNvPr>
          <p:cNvSpPr/>
          <p:nvPr userDrawn="1"/>
        </p:nvSpPr>
        <p:spPr>
          <a:xfrm>
            <a:off x="0" y="-1"/>
            <a:ext cx="7782560" cy="66388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883CA5D-9231-194D-B04E-1F2443C529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45772" y="703111"/>
            <a:ext cx="6263494" cy="5307398"/>
          </a:xfrm>
        </p:spPr>
        <p:txBody>
          <a:bodyPr>
            <a:noAutofit/>
          </a:bodyPr>
          <a:lstStyle>
            <a:lvl1pPr marL="233363" indent="-23336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2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E9B61688-ACFC-FB45-B95D-48862BE6DF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778012" y="-3608"/>
            <a:ext cx="2213816" cy="2215866"/>
          </a:xfrm>
          <a:prstGeom prst="rect">
            <a:avLst/>
          </a:prstGeom>
        </p:spPr>
      </p:pic>
      <p:pic>
        <p:nvPicPr>
          <p:cNvPr id="16" name="Picture 15" descr="Shape, circle&#10;&#10;Description automatically generated">
            <a:extLst>
              <a:ext uri="{FF2B5EF4-FFF2-40B4-BE49-F238E27FC236}">
                <a16:creationId xmlns:a16="http://schemas.microsoft.com/office/drawing/2014/main" id="{2119715B-ED0C-3845-BC7F-E2A8719BD8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280" y="-3608"/>
            <a:ext cx="2215866" cy="2215866"/>
          </a:xfrm>
          <a:prstGeom prst="rect">
            <a:avLst/>
          </a:prstGeom>
        </p:spPr>
      </p:pic>
      <p:pic>
        <p:nvPicPr>
          <p:cNvPr id="18" name="Picture 17" descr="Shape&#10;&#10;Description automatically generated with medium confidence">
            <a:extLst>
              <a:ext uri="{FF2B5EF4-FFF2-40B4-BE49-F238E27FC236}">
                <a16:creationId xmlns:a16="http://schemas.microsoft.com/office/drawing/2014/main" id="{FE179056-DC08-1349-83A9-914E0634F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775085" y="2209738"/>
            <a:ext cx="2213816" cy="2215866"/>
          </a:xfrm>
          <a:prstGeom prst="rect">
            <a:avLst/>
          </a:prstGeom>
        </p:spPr>
      </p:pic>
      <p:pic>
        <p:nvPicPr>
          <p:cNvPr id="19" name="Picture 18" descr="A picture containing diagram&#10;&#10;Description automatically generated">
            <a:extLst>
              <a:ext uri="{FF2B5EF4-FFF2-40B4-BE49-F238E27FC236}">
                <a16:creationId xmlns:a16="http://schemas.microsoft.com/office/drawing/2014/main" id="{444100EF-3B25-BA45-9308-F115F5DDE4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8305" y="2208713"/>
            <a:ext cx="2213816" cy="2215866"/>
          </a:xfrm>
          <a:prstGeom prst="rect">
            <a:avLst/>
          </a:prstGeom>
        </p:spPr>
      </p:pic>
      <p:pic>
        <p:nvPicPr>
          <p:cNvPr id="20" name="Picture 19" descr="Chart, pie chart&#10;&#10;Description automatically generated">
            <a:extLst>
              <a:ext uri="{FF2B5EF4-FFF2-40B4-BE49-F238E27FC236}">
                <a16:creationId xmlns:a16="http://schemas.microsoft.com/office/drawing/2014/main" id="{6A2D2AD8-E10B-5645-9788-A98E0816509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3464" y="4423021"/>
            <a:ext cx="2213816" cy="2215866"/>
          </a:xfrm>
          <a:prstGeom prst="rect">
            <a:avLst/>
          </a:prstGeom>
        </p:spPr>
      </p:pic>
      <p:pic>
        <p:nvPicPr>
          <p:cNvPr id="21" name="Picture 20" descr="Shape, circle&#10;&#10;Description automatically generated">
            <a:extLst>
              <a:ext uri="{FF2B5EF4-FFF2-40B4-BE49-F238E27FC236}">
                <a16:creationId xmlns:a16="http://schemas.microsoft.com/office/drawing/2014/main" id="{FC5C39EE-9955-1A49-ACF9-6DF45A5C9C6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3800" y="4421641"/>
            <a:ext cx="2218321" cy="222037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11" name="object 14">
            <a:extLst>
              <a:ext uri="{FF2B5EF4-FFF2-40B4-BE49-F238E27FC236}">
                <a16:creationId xmlns:a16="http://schemas.microsoft.com/office/drawing/2014/main" id="{F4ED66D2-49B2-9340-AEEB-222BA246730C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8901BF-3ACD-D647-A3B1-BB843462F352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26862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5D5DD2-2E19-CA4B-AA8E-4199EABE98B3}"/>
              </a:ext>
            </a:extLst>
          </p:cNvPr>
          <p:cNvSpPr/>
          <p:nvPr userDrawn="1"/>
        </p:nvSpPr>
        <p:spPr>
          <a:xfrm>
            <a:off x="4409440" y="0"/>
            <a:ext cx="7782560" cy="66085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D82A6D1-74C9-4B48-915D-9E2E7009830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68973" y="703111"/>
            <a:ext cx="6263494" cy="5307398"/>
          </a:xfrm>
        </p:spPr>
        <p:txBody>
          <a:bodyPr>
            <a:noAutofit/>
          </a:bodyPr>
          <a:lstStyle>
            <a:lvl1pPr marL="233363" indent="-23336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2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8D452A2-BF8C-B247-842C-3E70087B91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22330" y="2207789"/>
            <a:ext cx="2215865" cy="2215865"/>
          </a:xfrm>
          <a:prstGeom prst="rect">
            <a:avLst/>
          </a:prstGeom>
        </p:spPr>
      </p:pic>
      <p:pic>
        <p:nvPicPr>
          <p:cNvPr id="18" name="Picture 17" descr="Shape, circle&#10;&#10;Description automatically generated">
            <a:extLst>
              <a:ext uri="{FF2B5EF4-FFF2-40B4-BE49-F238E27FC236}">
                <a16:creationId xmlns:a16="http://schemas.microsoft.com/office/drawing/2014/main" id="{00D050FC-9B85-9744-83A4-3956EA752C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2122" y="2208606"/>
            <a:ext cx="2213814" cy="2215864"/>
          </a:xfrm>
          <a:prstGeom prst="rect">
            <a:avLst/>
          </a:prstGeom>
        </p:spPr>
      </p:pic>
      <p:pic>
        <p:nvPicPr>
          <p:cNvPr id="16" name="Picture 15" descr="A picture containing diagram&#10;&#10;Description automatically generated">
            <a:extLst>
              <a:ext uri="{FF2B5EF4-FFF2-40B4-BE49-F238E27FC236}">
                <a16:creationId xmlns:a16="http://schemas.microsoft.com/office/drawing/2014/main" id="{0EEA53EB-6594-A243-8953-40990CD868F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193148" y="-9101"/>
            <a:ext cx="2215864" cy="2217916"/>
          </a:xfrm>
          <a:prstGeom prst="rect">
            <a:avLst/>
          </a:prstGeom>
        </p:spPr>
      </p:pic>
      <p:pic>
        <p:nvPicPr>
          <p:cNvPr id="21" name="Picture 20" descr="Shape&#10;&#10;Description automatically generated">
            <a:extLst>
              <a:ext uri="{FF2B5EF4-FFF2-40B4-BE49-F238E27FC236}">
                <a16:creationId xmlns:a16="http://schemas.microsoft.com/office/drawing/2014/main" id="{43D7F4C2-9656-1E4B-B7B7-3AA0F46A332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193146" y="4395557"/>
            <a:ext cx="2211766" cy="221381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5" name="Picture 4" descr="Shape, circle&#10;&#10;Description automatically generated">
            <a:extLst>
              <a:ext uri="{FF2B5EF4-FFF2-40B4-BE49-F238E27FC236}">
                <a16:creationId xmlns:a16="http://schemas.microsoft.com/office/drawing/2014/main" id="{CF8D6C01-B35A-3D46-894A-E4559F9A00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80" y="-3698"/>
            <a:ext cx="2213815" cy="2215866"/>
          </a:xfrm>
          <a:prstGeom prst="rect">
            <a:avLst/>
          </a:prstGeom>
        </p:spPr>
      </p:pic>
      <p:pic>
        <p:nvPicPr>
          <p:cNvPr id="19" name="Picture 18" descr="Shape&#10;&#10;Description automatically generated">
            <a:extLst>
              <a:ext uri="{FF2B5EF4-FFF2-40B4-BE49-F238E27FC236}">
                <a16:creationId xmlns:a16="http://schemas.microsoft.com/office/drawing/2014/main" id="{6718313F-641C-B144-B0ED-92C528E0379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20281" y="4394638"/>
            <a:ext cx="2213815" cy="2213815"/>
          </a:xfrm>
          <a:prstGeom prst="rect">
            <a:avLst/>
          </a:prstGeom>
        </p:spPr>
      </p:pic>
      <p:sp>
        <p:nvSpPr>
          <p:cNvPr id="9" name="object 14">
            <a:extLst>
              <a:ext uri="{FF2B5EF4-FFF2-40B4-BE49-F238E27FC236}">
                <a16:creationId xmlns:a16="http://schemas.microsoft.com/office/drawing/2014/main" id="{EBBFEF2E-ABA1-7249-8E3D-9169F3FBFFB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87906-BD43-1745-81F9-112BEEE7005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3389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A9EF8CBE-BC2D-C945-BB43-6C255004EC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865" y="1464"/>
            <a:ext cx="11800135" cy="663757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D5618C4-3B88-634B-AF8F-22B2F393ED06}"/>
              </a:ext>
            </a:extLst>
          </p:cNvPr>
          <p:cNvSpPr/>
          <p:nvPr userDrawn="1"/>
        </p:nvSpPr>
        <p:spPr>
          <a:xfrm>
            <a:off x="0" y="4413956"/>
            <a:ext cx="7760710" cy="227659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A6E2D23-D519-A84C-97F3-710E9A7E7D4D}"/>
              </a:ext>
            </a:extLst>
          </p:cNvPr>
          <p:cNvSpPr/>
          <p:nvPr userDrawn="1"/>
        </p:nvSpPr>
        <p:spPr>
          <a:xfrm>
            <a:off x="0" y="0"/>
            <a:ext cx="7760710" cy="441395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E8AAB38-ED78-2344-8398-7A3FDBCAED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073" y="703110"/>
            <a:ext cx="5360927" cy="5307398"/>
          </a:xfrm>
        </p:spPr>
        <p:txBody>
          <a:bodyPr>
            <a:noAutofit/>
          </a:bodyPr>
          <a:lstStyle>
            <a:lvl1pPr marL="458788" indent="-4587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53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6125" marR="0" indent="-460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6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7438" indent="-447675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6000">
                <a:solidFill>
                  <a:schemeClr val="bg1"/>
                </a:solidFill>
              </a:defRPr>
            </a:lvl3pPr>
            <a:lvl4pPr marL="1493838" indent="-47148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4pPr>
            <a:lvl5pPr marL="1887538" indent="-468313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61E3D1-7569-944F-87A2-47F7106560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57382" y="-482309"/>
            <a:ext cx="7555639" cy="7172856"/>
          </a:xfrm>
          <a:prstGeom prst="rect">
            <a:avLst/>
          </a:prstGeom>
        </p:spPr>
      </p:pic>
      <p:sp>
        <p:nvSpPr>
          <p:cNvPr id="13" name="object 14">
            <a:extLst>
              <a:ext uri="{FF2B5EF4-FFF2-40B4-BE49-F238E27FC236}">
                <a16:creationId xmlns:a16="http://schemas.microsoft.com/office/drawing/2014/main" id="{982BA4F4-E28E-DC41-B3BF-D4837A204A8D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A774E0C-4426-7A4B-A2DB-3FB697C52B26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66129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8EACC420-450E-F44C-A104-8CEE39B2A9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636" y="0"/>
            <a:ext cx="11776364" cy="662420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5A35966-664D-D84E-AE50-9D87895AF381}"/>
              </a:ext>
            </a:extLst>
          </p:cNvPr>
          <p:cNvSpPr/>
          <p:nvPr userDrawn="1"/>
        </p:nvSpPr>
        <p:spPr>
          <a:xfrm>
            <a:off x="-2" y="0"/>
            <a:ext cx="5575301" cy="67371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DCAFA9B-BE51-BF48-9B72-8B439DE7F4D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0831" y="645958"/>
            <a:ext cx="4475540" cy="4302560"/>
          </a:xfrm>
        </p:spPr>
        <p:txBody>
          <a:bodyPr>
            <a:noAutofit/>
          </a:bodyPr>
          <a:lstStyle>
            <a:lvl1pPr marL="349250" indent="-3492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8975" marR="0" indent="-4032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3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28700" indent="-3889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969963" algn="l"/>
              </a:tabLst>
              <a:defRPr sz="3600">
                <a:solidFill>
                  <a:schemeClr val="bg1"/>
                </a:solidFill>
              </a:defRPr>
            </a:lvl3pPr>
            <a:lvl4pPr marL="1428750" indent="-40640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3600">
                <a:solidFill>
                  <a:schemeClr val="bg1"/>
                </a:solidFill>
              </a:defRPr>
            </a:lvl4pPr>
            <a:lvl5pPr marL="1828800" indent="-4095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101721D2-6A6B-D341-A9EA-9D83D33F423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F98A23-FCE6-1242-9D18-98F5FA0F1F98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01376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icon&#10;&#10;Description automatically generated">
            <a:extLst>
              <a:ext uri="{FF2B5EF4-FFF2-40B4-BE49-F238E27FC236}">
                <a16:creationId xmlns:a16="http://schemas.microsoft.com/office/drawing/2014/main" id="{938FEE1C-A7F3-8A41-8BB0-D3D8104B28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636" y="0"/>
            <a:ext cx="11776364" cy="662420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F4BEA6DA-7D42-BE41-A198-62F1A75FD293}"/>
              </a:ext>
            </a:extLst>
          </p:cNvPr>
          <p:cNvSpPr/>
          <p:nvPr userDrawn="1"/>
        </p:nvSpPr>
        <p:spPr>
          <a:xfrm>
            <a:off x="-2" y="0"/>
            <a:ext cx="5575301" cy="673713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101721D2-6A6B-D341-A9EA-9D83D33F423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F98A23-FCE6-1242-9D18-98F5FA0F1F98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0615AEA-5F51-9347-BFE9-9671EE6E39F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0831" y="645958"/>
            <a:ext cx="4475540" cy="4302560"/>
          </a:xfrm>
        </p:spPr>
        <p:txBody>
          <a:bodyPr>
            <a:noAutofit/>
          </a:bodyPr>
          <a:lstStyle>
            <a:lvl1pPr marL="349250" indent="-3492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8975" marR="0" indent="-4032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3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28700" indent="-3889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969963" algn="l"/>
              </a:tabLst>
              <a:defRPr sz="3600">
                <a:solidFill>
                  <a:schemeClr val="bg1"/>
                </a:solidFill>
              </a:defRPr>
            </a:lvl3pPr>
            <a:lvl4pPr marL="1428750" indent="-40640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3600">
                <a:solidFill>
                  <a:schemeClr val="bg1"/>
                </a:solidFill>
              </a:defRPr>
            </a:lvl4pPr>
            <a:lvl5pPr marL="1828800" indent="-4095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01063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C77FAAFA-762C-E343-8D43-BBC66B4C7A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180" y="0"/>
            <a:ext cx="11791820" cy="663904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5A35966-664D-D84E-AE50-9D87895AF381}"/>
              </a:ext>
            </a:extLst>
          </p:cNvPr>
          <p:cNvSpPr/>
          <p:nvPr userDrawn="1"/>
        </p:nvSpPr>
        <p:spPr>
          <a:xfrm>
            <a:off x="0" y="0"/>
            <a:ext cx="5588000" cy="67371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101721D2-6A6B-D341-A9EA-9D83D33F423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F98A23-FCE6-1242-9D18-98F5FA0F1F98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9AEAD21-F7D3-A047-8E4A-543C15D4A13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0831" y="645958"/>
            <a:ext cx="4475540" cy="4302560"/>
          </a:xfrm>
        </p:spPr>
        <p:txBody>
          <a:bodyPr>
            <a:noAutofit/>
          </a:bodyPr>
          <a:lstStyle>
            <a:lvl1pPr marL="349250" indent="-3492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8975" marR="0" indent="-4032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3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28700" indent="-3889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969963" algn="l"/>
              </a:tabLst>
              <a:defRPr sz="3600">
                <a:solidFill>
                  <a:schemeClr val="bg1"/>
                </a:solidFill>
              </a:defRPr>
            </a:lvl3pPr>
            <a:lvl4pPr marL="1428750" indent="-40640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3600">
                <a:solidFill>
                  <a:schemeClr val="bg1"/>
                </a:solidFill>
              </a:defRPr>
            </a:lvl4pPr>
            <a:lvl5pPr marL="1828800" indent="-4095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31534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BABB134B-255A-664F-971C-0582B14E4A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180" y="0"/>
            <a:ext cx="11791820" cy="6639040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E7155C3-B1CD-F943-973C-BC2EB820CD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74813" y="583060"/>
            <a:ext cx="5817006" cy="4027642"/>
          </a:xfrm>
        </p:spPr>
        <p:txBody>
          <a:bodyPr>
            <a:noAutofit/>
          </a:bodyPr>
          <a:lstStyle>
            <a:lvl1pPr marL="349250" indent="-3492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8975" marR="0" indent="-4032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3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28700" indent="-3889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969963" algn="l"/>
              </a:tabLst>
              <a:defRPr sz="3600">
                <a:solidFill>
                  <a:schemeClr val="bg1"/>
                </a:solidFill>
              </a:defRPr>
            </a:lvl3pPr>
            <a:lvl4pPr marL="1428750" indent="-40640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3600">
                <a:solidFill>
                  <a:schemeClr val="bg1"/>
                </a:solidFill>
              </a:defRPr>
            </a:lvl4pPr>
            <a:lvl5pPr marL="1828800" indent="-4095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9C89E68-AD30-B749-961D-FCA005F60900}"/>
              </a:ext>
            </a:extLst>
          </p:cNvPr>
          <p:cNvSpPr/>
          <p:nvPr userDrawn="1"/>
        </p:nvSpPr>
        <p:spPr>
          <a:xfrm>
            <a:off x="0" y="0"/>
            <a:ext cx="5565742" cy="67371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D88E59D-4F4A-2F4B-8511-68E354B447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216402"/>
            <a:ext cx="7714348" cy="7055497"/>
          </a:xfrm>
          <a:prstGeom prst="rect">
            <a:avLst/>
          </a:prstGeom>
        </p:spPr>
      </p:pic>
      <p:sp>
        <p:nvSpPr>
          <p:cNvPr id="10" name="object 14">
            <a:extLst>
              <a:ext uri="{FF2B5EF4-FFF2-40B4-BE49-F238E27FC236}">
                <a16:creationId xmlns:a16="http://schemas.microsoft.com/office/drawing/2014/main" id="{101721D2-6A6B-D341-A9EA-9D83D33F423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F98A23-FCE6-1242-9D18-98F5FA0F1F98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95672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81768CF-52B8-0347-A647-678EC4374F90}"/>
              </a:ext>
            </a:extLst>
          </p:cNvPr>
          <p:cNvSpPr/>
          <p:nvPr userDrawn="1"/>
        </p:nvSpPr>
        <p:spPr>
          <a:xfrm>
            <a:off x="-1" y="0"/>
            <a:ext cx="777818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picture containing icon&#10;&#10;Description automatically generated">
            <a:extLst>
              <a:ext uri="{FF2B5EF4-FFF2-40B4-BE49-F238E27FC236}">
                <a16:creationId xmlns:a16="http://schemas.microsoft.com/office/drawing/2014/main" id="{E6345E48-0069-2340-A0DB-46B963B56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 descr="A person holding a leaf&#10;&#10;Description automatically generated with medium confidence">
            <a:extLst>
              <a:ext uri="{FF2B5EF4-FFF2-40B4-BE49-F238E27FC236}">
                <a16:creationId xmlns:a16="http://schemas.microsoft.com/office/drawing/2014/main" id="{9569BDD0-66A7-B54F-AA5C-F10DB19B69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3860" y="0"/>
            <a:ext cx="962814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101721D2-6A6B-D341-A9EA-9D83D33F423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F98A23-FCE6-1242-9D18-98F5FA0F1F98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3AA3599-9218-9846-B959-ABF2CAACF0C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0830" y="645958"/>
            <a:ext cx="5845965" cy="2813523"/>
          </a:xfrm>
        </p:spPr>
        <p:txBody>
          <a:bodyPr>
            <a:noAutofit/>
          </a:bodyPr>
          <a:lstStyle>
            <a:lvl1pPr marL="349250" indent="-3492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8975" marR="0" indent="-4032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3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28700" indent="-3889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969963" algn="l"/>
              </a:tabLst>
              <a:defRPr sz="3600">
                <a:solidFill>
                  <a:schemeClr val="bg1"/>
                </a:solidFill>
              </a:defRPr>
            </a:lvl3pPr>
            <a:lvl4pPr marL="1428750" indent="-40640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3600">
                <a:solidFill>
                  <a:schemeClr val="bg1"/>
                </a:solidFill>
              </a:defRPr>
            </a:lvl4pPr>
            <a:lvl5pPr marL="1828800" indent="-4095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1771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/>
        </p:nvSpPr>
        <p:spPr>
          <a:xfrm>
            <a:off x="8105402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1165" y="3376933"/>
            <a:ext cx="3587051" cy="334962"/>
          </a:xfrm>
        </p:spPr>
        <p:txBody>
          <a:bodyPr/>
          <a:lstStyle>
            <a:lvl1pPr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1102" y="3882109"/>
            <a:ext cx="3345069" cy="334962"/>
          </a:xfrm>
        </p:spPr>
        <p:txBody>
          <a:bodyPr/>
          <a:lstStyle>
            <a:lvl1pPr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165" y="2156693"/>
            <a:ext cx="3811904" cy="932688"/>
          </a:xfrm>
        </p:spPr>
        <p:txBody>
          <a:bodyPr>
            <a:noAutofit/>
          </a:bodyPr>
          <a:lstStyle>
            <a:lvl1pPr marL="7938" indent="-7938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epsiCo Positive</a:t>
            </a:r>
          </a:p>
          <a:p>
            <a:pPr lvl="0"/>
            <a:r>
              <a:rPr lang="en-US"/>
              <a:t>Template</a:t>
            </a:r>
          </a:p>
        </p:txBody>
      </p:sp>
      <p:pic>
        <p:nvPicPr>
          <p:cNvPr id="10" name="Picture 9" descr="A picture containing tree, green, plant, broccoli&#10;&#10;Description automatically generated">
            <a:extLst>
              <a:ext uri="{FF2B5EF4-FFF2-40B4-BE49-F238E27FC236}">
                <a16:creationId xmlns:a16="http://schemas.microsoft.com/office/drawing/2014/main" id="{C0BBEF17-CCF4-44A9-8BE8-126ABA4890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-34288" y="0"/>
            <a:ext cx="7526731" cy="6846212"/>
          </a:xfrm>
          <a:prstGeom prst="rect">
            <a:avLst/>
          </a:prstGeom>
        </p:spPr>
      </p:pic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321D46E2-614D-CF4E-9C75-EC407239DA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5073" y="4644994"/>
            <a:ext cx="3895609" cy="182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5630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81768CF-52B8-0347-A647-678EC4374F90}"/>
              </a:ext>
            </a:extLst>
          </p:cNvPr>
          <p:cNvSpPr/>
          <p:nvPr userDrawn="1"/>
        </p:nvSpPr>
        <p:spPr>
          <a:xfrm>
            <a:off x="-1" y="0"/>
            <a:ext cx="777818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4A9275F3-BBA1-9644-9E35-4C8AD8A7F9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49440"/>
            <a:ext cx="12192000" cy="6858000"/>
          </a:xfrm>
          <a:prstGeom prst="rect">
            <a:avLst/>
          </a:prstGeom>
        </p:spPr>
      </p:pic>
      <p:pic>
        <p:nvPicPr>
          <p:cNvPr id="14" name="Picture 13" descr="A person holding a leaf&#10;&#10;Description automatically generated with medium confidence">
            <a:extLst>
              <a:ext uri="{FF2B5EF4-FFF2-40B4-BE49-F238E27FC236}">
                <a16:creationId xmlns:a16="http://schemas.microsoft.com/office/drawing/2014/main" id="{9569BDD0-66A7-B54F-AA5C-F10DB19B69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3860" y="0"/>
            <a:ext cx="962814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101721D2-6A6B-D341-A9EA-9D83D33F423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F98A23-FCE6-1242-9D18-98F5FA0F1F98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698789B-C74C-DB4C-A7B5-D4463DEF9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0830" y="645958"/>
            <a:ext cx="5845965" cy="2813523"/>
          </a:xfrm>
        </p:spPr>
        <p:txBody>
          <a:bodyPr>
            <a:noAutofit/>
          </a:bodyPr>
          <a:lstStyle>
            <a:lvl1pPr marL="349250" indent="-3492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8975" marR="0" indent="-4032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3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28700" indent="-38893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969963" algn="l"/>
              </a:tabLst>
              <a:defRPr sz="3600">
                <a:solidFill>
                  <a:schemeClr val="bg1"/>
                </a:solidFill>
              </a:defRPr>
            </a:lvl3pPr>
            <a:lvl4pPr marL="1428750" indent="-40640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3600">
                <a:solidFill>
                  <a:schemeClr val="bg1"/>
                </a:solidFill>
              </a:defRPr>
            </a:lvl4pPr>
            <a:lvl5pPr marL="1828800" indent="-409575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976113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hape&#10;&#10;Description automatically generated">
            <a:extLst>
              <a:ext uri="{FF2B5EF4-FFF2-40B4-BE49-F238E27FC236}">
                <a16:creationId xmlns:a16="http://schemas.microsoft.com/office/drawing/2014/main" id="{4C688138-929B-0943-BB4C-334EA3EB0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2" y="0"/>
            <a:ext cx="11743418" cy="660567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45D5DD2-2E19-CA4B-AA8E-4199EABE98B3}"/>
              </a:ext>
            </a:extLst>
          </p:cNvPr>
          <p:cNvSpPr/>
          <p:nvPr userDrawn="1"/>
        </p:nvSpPr>
        <p:spPr>
          <a:xfrm>
            <a:off x="0" y="0"/>
            <a:ext cx="7792720" cy="66085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749566-D047-2B49-8DE5-DE967A0DAF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674" y="703110"/>
            <a:ext cx="6271672" cy="5307398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tabLst/>
              <a:defRPr sz="4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EBBFEF2E-ABA1-7249-8E3D-9169F3FBFFB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87906-BD43-1745-81F9-112BEEE7005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58885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ape, background pattern&#10;&#10;Description automatically generated">
            <a:extLst>
              <a:ext uri="{FF2B5EF4-FFF2-40B4-BE49-F238E27FC236}">
                <a16:creationId xmlns:a16="http://schemas.microsoft.com/office/drawing/2014/main" id="{34AA1E1D-03FF-AF43-BE4A-5FC80EF1F2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97" t="462" r="12913"/>
          <a:stretch/>
        </p:blipFill>
        <p:spPr>
          <a:xfrm>
            <a:off x="-2" y="-1"/>
            <a:ext cx="12192001" cy="660834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5F84725-21C6-BE45-BE42-A7EA6A32E46E}"/>
              </a:ext>
            </a:extLst>
          </p:cNvPr>
          <p:cNvSpPr/>
          <p:nvPr userDrawn="1"/>
        </p:nvSpPr>
        <p:spPr>
          <a:xfrm>
            <a:off x="914399" y="0"/>
            <a:ext cx="6939065" cy="686978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49E92C5-11B9-0447-A39A-12B9C7B844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18867" y="599440"/>
            <a:ext cx="4891621" cy="5411068"/>
          </a:xfrm>
        </p:spPr>
        <p:txBody>
          <a:bodyPr>
            <a:noAutofit/>
          </a:bodyPr>
          <a:lstStyle>
            <a:lvl1pPr marL="519113" indent="-51911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6125" marR="0" indent="-460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6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7438" indent="-447675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6000">
                <a:solidFill>
                  <a:schemeClr val="bg1"/>
                </a:solidFill>
              </a:defRPr>
            </a:lvl3pPr>
            <a:lvl4pPr marL="1493838" indent="-47148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4pPr>
            <a:lvl5pPr marL="1887538" indent="-468313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19" name="Picture 18" descr="A picture containing windmill, outdoor object&#10;&#10;Description automatically generated">
            <a:extLst>
              <a:ext uri="{FF2B5EF4-FFF2-40B4-BE49-F238E27FC236}">
                <a16:creationId xmlns:a16="http://schemas.microsoft.com/office/drawing/2014/main" id="{E18F52E1-FB6D-524D-ACCC-62D345CB1D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69261" y="-104379"/>
            <a:ext cx="5827009" cy="6743420"/>
          </a:xfrm>
          <a:prstGeom prst="rect">
            <a:avLst/>
          </a:prstGeom>
        </p:spPr>
      </p:pic>
      <p:pic>
        <p:nvPicPr>
          <p:cNvPr id="20" name="Picture 19" descr="A picture containing windmill, outdoor object&#10;&#10;Description automatically generated">
            <a:extLst>
              <a:ext uri="{FF2B5EF4-FFF2-40B4-BE49-F238E27FC236}">
                <a16:creationId xmlns:a16="http://schemas.microsoft.com/office/drawing/2014/main" id="{B05B56EE-41C9-D94E-A6DB-7A479077EE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1703" y="2973400"/>
            <a:ext cx="3362753" cy="3665640"/>
          </a:xfrm>
          <a:prstGeom prst="rect">
            <a:avLst/>
          </a:prstGeom>
        </p:spPr>
      </p:pic>
      <p:sp>
        <p:nvSpPr>
          <p:cNvPr id="11" name="object 14">
            <a:extLst>
              <a:ext uri="{FF2B5EF4-FFF2-40B4-BE49-F238E27FC236}">
                <a16:creationId xmlns:a16="http://schemas.microsoft.com/office/drawing/2014/main" id="{44FE5C87-C327-A549-9EB2-2C22CF7E23AD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845A496-6F89-9C45-87E7-1898BA4848FA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85833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A540508-B502-5146-8F90-5B91F1663EFA}"/>
              </a:ext>
            </a:extLst>
          </p:cNvPr>
          <p:cNvSpPr/>
          <p:nvPr userDrawn="1"/>
        </p:nvSpPr>
        <p:spPr>
          <a:xfrm>
            <a:off x="0" y="-214"/>
            <a:ext cx="5588000" cy="6766773"/>
          </a:xfrm>
          <a:prstGeom prst="rect">
            <a:avLst/>
          </a:prstGeom>
          <a:solidFill>
            <a:srgbClr val="00A7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A picture containing text, person, outdoor, male&#10;&#10;Description automatically generated">
            <a:extLst>
              <a:ext uri="{FF2B5EF4-FFF2-40B4-BE49-F238E27FC236}">
                <a16:creationId xmlns:a16="http://schemas.microsoft.com/office/drawing/2014/main" id="{A15711D4-951A-3541-806C-87D91F217D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32447C0-EA72-7D49-9A06-19169E1C21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8352" y="1935600"/>
            <a:ext cx="4228936" cy="4078977"/>
          </a:xfrm>
        </p:spPr>
        <p:txBody>
          <a:bodyPr>
            <a:noAutofit/>
          </a:bodyPr>
          <a:lstStyle>
            <a:lvl1pPr marL="288925" indent="-28892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79488" indent="-339725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2400">
                <a:solidFill>
                  <a:schemeClr val="bg1"/>
                </a:solidFill>
              </a:defRPr>
            </a:lvl3pPr>
            <a:lvl4pPr marL="1379538" indent="-35718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2400">
                <a:solidFill>
                  <a:schemeClr val="bg1"/>
                </a:solidFill>
              </a:defRPr>
            </a:lvl4pPr>
            <a:lvl5pPr marL="1779588" indent="-360363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11" name="object 14">
            <a:extLst>
              <a:ext uri="{FF2B5EF4-FFF2-40B4-BE49-F238E27FC236}">
                <a16:creationId xmlns:a16="http://schemas.microsoft.com/office/drawing/2014/main" id="{49D3E8D3-81DB-DB47-898F-ABAAFD66420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A690407-3DAB-734F-B7B9-AD1649E28B1F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itle 7">
            <a:extLst>
              <a:ext uri="{FF2B5EF4-FFF2-40B4-BE49-F238E27FC236}">
                <a16:creationId xmlns:a16="http://schemas.microsoft.com/office/drawing/2014/main" id="{C165D976-D3A0-244F-A266-9B5F914026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52" y="603435"/>
            <a:ext cx="4228936" cy="10999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54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9687384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bject 2">
            <a:extLst>
              <a:ext uri="{FF2B5EF4-FFF2-40B4-BE49-F238E27FC236}">
                <a16:creationId xmlns:a16="http://schemas.microsoft.com/office/drawing/2014/main" id="{4F62F695-717D-374C-802D-7FEBEAD6FE46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3">
            <a:extLst>
              <a:ext uri="{FF2B5EF4-FFF2-40B4-BE49-F238E27FC236}">
                <a16:creationId xmlns:a16="http://schemas.microsoft.com/office/drawing/2014/main" id="{B392FAE7-9F0A-8D4D-94F3-8E024FD2710E}"/>
              </a:ext>
            </a:extLst>
          </p:cNvPr>
          <p:cNvSpPr/>
          <p:nvPr userDrawn="1"/>
        </p:nvSpPr>
        <p:spPr>
          <a:xfrm>
            <a:off x="0" y="949394"/>
            <a:ext cx="12192000" cy="90512"/>
          </a:xfrm>
          <a:custGeom>
            <a:avLst/>
            <a:gdLst/>
            <a:ahLst/>
            <a:cxnLst/>
            <a:rect l="l" t="t" r="r" b="b"/>
            <a:pathLst>
              <a:path w="14630400" h="132715">
                <a:moveTo>
                  <a:pt x="0" y="132575"/>
                </a:moveTo>
                <a:lnTo>
                  <a:pt x="14630400" y="132575"/>
                </a:lnTo>
                <a:lnTo>
                  <a:pt x="14630400" y="0"/>
                </a:lnTo>
                <a:lnTo>
                  <a:pt x="0" y="0"/>
                </a:lnTo>
                <a:lnTo>
                  <a:pt x="0" y="13257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70D3D3E5-0E23-274C-9962-BEA8E59E9D56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DE34C67-EF85-5741-BCC6-1C9234DAED84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4B9BD789-B592-4064-A984-877BEBBB36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931" y="1668026"/>
            <a:ext cx="3240594" cy="3240594"/>
          </a:xfrm>
          <a:prstGeom prst="rect">
            <a:avLst/>
          </a:prstGeom>
        </p:spPr>
      </p:pic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5409E899-9FE5-4E0B-B1B4-A3FBD4271CC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475" y="1668026"/>
            <a:ext cx="3240594" cy="3240594"/>
          </a:xfrm>
          <a:prstGeom prst="rect">
            <a:avLst/>
          </a:prstGeom>
        </p:spPr>
      </p:pic>
      <p:pic>
        <p:nvPicPr>
          <p:cNvPr id="19" name="Picture 18" descr="Logo&#10;&#10;Description automatically generated">
            <a:extLst>
              <a:ext uri="{FF2B5EF4-FFF2-40B4-BE49-F238E27FC236}">
                <a16:creationId xmlns:a16="http://schemas.microsoft.com/office/drawing/2014/main" id="{E51390B8-A225-4430-AE0C-CB436E474AD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5703" y="1668026"/>
            <a:ext cx="3240594" cy="3240594"/>
          </a:xfrm>
          <a:prstGeom prst="rect">
            <a:avLst/>
          </a:prstGeom>
        </p:spPr>
      </p:pic>
      <p:sp>
        <p:nvSpPr>
          <p:cNvPr id="21" name="Title 23">
            <a:extLst>
              <a:ext uri="{FF2B5EF4-FFF2-40B4-BE49-F238E27FC236}">
                <a16:creationId xmlns:a16="http://schemas.microsoft.com/office/drawing/2014/main" id="{B00B551D-C2BA-4CDD-916B-071BF2EC950A}"/>
              </a:ext>
            </a:extLst>
          </p:cNvPr>
          <p:cNvSpPr txBox="1">
            <a:spLocks/>
          </p:cNvSpPr>
          <p:nvPr userDrawn="1"/>
        </p:nvSpPr>
        <p:spPr>
          <a:xfrm>
            <a:off x="627256" y="159587"/>
            <a:ext cx="10937489" cy="6232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Icons for your us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EAF6067-A441-4AE6-A2CF-BB3F44D7B4A0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cxnSp>
        <p:nvCxnSpPr>
          <p:cNvPr id="3" name="Connector: Curved 2">
            <a:extLst>
              <a:ext uri="{FF2B5EF4-FFF2-40B4-BE49-F238E27FC236}">
                <a16:creationId xmlns:a16="http://schemas.microsoft.com/office/drawing/2014/main" id="{80AC17D5-1880-40B6-AB04-85808BC0F888}"/>
              </a:ext>
            </a:extLst>
          </p:cNvPr>
          <p:cNvCxnSpPr>
            <a:cxnSpLocks/>
          </p:cNvCxnSpPr>
          <p:nvPr userDrawn="1"/>
        </p:nvCxnSpPr>
        <p:spPr>
          <a:xfrm rot="10800000" flipV="1">
            <a:off x="2645232" y="6130364"/>
            <a:ext cx="1230082" cy="608702"/>
          </a:xfrm>
          <a:prstGeom prst="curvedConnector3">
            <a:avLst>
              <a:gd name="adj1" fmla="val -49115"/>
            </a:avLst>
          </a:prstGeom>
          <a:ln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6" name="object 14">
            <a:extLst>
              <a:ext uri="{FF2B5EF4-FFF2-40B4-BE49-F238E27FC236}">
                <a16:creationId xmlns:a16="http://schemas.microsoft.com/office/drawing/2014/main" id="{88750AD9-0AF3-4264-8F8E-DD3F1AB46DE6}"/>
              </a:ext>
            </a:extLst>
          </p:cNvPr>
          <p:cNvSpPr/>
          <p:nvPr userDrawn="1"/>
        </p:nvSpPr>
        <p:spPr>
          <a:xfrm>
            <a:off x="4341749" y="5340439"/>
            <a:ext cx="7850251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BE733F6-6B91-4D4E-8F8F-A38BF0204AA7}"/>
              </a:ext>
            </a:extLst>
          </p:cNvPr>
          <p:cNvSpPr txBox="1"/>
          <p:nvPr userDrawn="1"/>
        </p:nvSpPr>
        <p:spPr>
          <a:xfrm>
            <a:off x="4475703" y="5370919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38" name="object 14">
            <a:extLst>
              <a:ext uri="{FF2B5EF4-FFF2-40B4-BE49-F238E27FC236}">
                <a16:creationId xmlns:a16="http://schemas.microsoft.com/office/drawing/2014/main" id="{1F6B6AFD-A187-41CE-BF13-FEDEFC1983B5}"/>
              </a:ext>
            </a:extLst>
          </p:cNvPr>
          <p:cNvSpPr/>
          <p:nvPr userDrawn="1"/>
        </p:nvSpPr>
        <p:spPr>
          <a:xfrm>
            <a:off x="4341749" y="5608443"/>
            <a:ext cx="7850251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B57314C-88D2-4906-AC85-812B221DED6D}"/>
              </a:ext>
            </a:extLst>
          </p:cNvPr>
          <p:cNvSpPr txBox="1"/>
          <p:nvPr userDrawn="1"/>
        </p:nvSpPr>
        <p:spPr>
          <a:xfrm>
            <a:off x="4475703" y="5638923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42" name="Title 7">
            <a:extLst>
              <a:ext uri="{FF2B5EF4-FFF2-40B4-BE49-F238E27FC236}">
                <a16:creationId xmlns:a16="http://schemas.microsoft.com/office/drawing/2014/main" id="{5E2F4FF4-98AE-4D0D-9C31-5610434D0E9B}"/>
              </a:ext>
            </a:extLst>
          </p:cNvPr>
          <p:cNvSpPr txBox="1">
            <a:spLocks/>
          </p:cNvSpPr>
          <p:nvPr userDrawn="1"/>
        </p:nvSpPr>
        <p:spPr>
          <a:xfrm>
            <a:off x="246767" y="5088957"/>
            <a:ext cx="4228936" cy="10999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54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algn="ctr"/>
            <a:r>
              <a:rPr lang="en-US" sz="3200">
                <a:solidFill>
                  <a:schemeClr val="accent5">
                    <a:lumMod val="75000"/>
                  </a:schemeClr>
                </a:solidFill>
              </a:rPr>
              <a:t>“Confidential” signs</a:t>
            </a:r>
            <a:br>
              <a:rPr lang="en-US" sz="3200">
                <a:solidFill>
                  <a:schemeClr val="accent5">
                    <a:lumMod val="75000"/>
                  </a:schemeClr>
                </a:solidFill>
              </a:rPr>
            </a:br>
            <a:r>
              <a:rPr lang="en-US" sz="3200">
                <a:solidFill>
                  <a:schemeClr val="accent5">
                    <a:lumMod val="75000"/>
                  </a:schemeClr>
                </a:solidFill>
              </a:rPr>
              <a:t>if needed</a:t>
            </a:r>
            <a:br>
              <a:rPr lang="en-US" sz="3200">
                <a:solidFill>
                  <a:schemeClr val="accent5">
                    <a:lumMod val="75000"/>
                  </a:schemeClr>
                </a:solidFill>
              </a:rPr>
            </a:br>
            <a:r>
              <a:rPr lang="en-US" sz="3200">
                <a:solidFill>
                  <a:schemeClr val="accent5">
                    <a:lumMod val="75000"/>
                  </a:schemeClr>
                </a:solidFill>
              </a:rPr>
              <a:t>Where to put it </a:t>
            </a:r>
          </a:p>
        </p:txBody>
      </p:sp>
    </p:spTree>
    <p:extLst>
      <p:ext uri="{BB962C8B-B14F-4D97-AF65-F5344CB8AC3E}">
        <p14:creationId xmlns:p14="http://schemas.microsoft.com/office/powerpoint/2010/main" val="40195050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p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bject 2">
            <a:extLst>
              <a:ext uri="{FF2B5EF4-FFF2-40B4-BE49-F238E27FC236}">
                <a16:creationId xmlns:a16="http://schemas.microsoft.com/office/drawing/2014/main" id="{4F62F695-717D-374C-802D-7FEBEAD6FE46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3">
            <a:extLst>
              <a:ext uri="{FF2B5EF4-FFF2-40B4-BE49-F238E27FC236}">
                <a16:creationId xmlns:a16="http://schemas.microsoft.com/office/drawing/2014/main" id="{B392FAE7-9F0A-8D4D-94F3-8E024FD2710E}"/>
              </a:ext>
            </a:extLst>
          </p:cNvPr>
          <p:cNvSpPr/>
          <p:nvPr userDrawn="1"/>
        </p:nvSpPr>
        <p:spPr>
          <a:xfrm>
            <a:off x="0" y="949394"/>
            <a:ext cx="12192000" cy="90512"/>
          </a:xfrm>
          <a:custGeom>
            <a:avLst/>
            <a:gdLst/>
            <a:ahLst/>
            <a:cxnLst/>
            <a:rect l="l" t="t" r="r" b="b"/>
            <a:pathLst>
              <a:path w="14630400" h="132715">
                <a:moveTo>
                  <a:pt x="0" y="132575"/>
                </a:moveTo>
                <a:lnTo>
                  <a:pt x="14630400" y="132575"/>
                </a:lnTo>
                <a:lnTo>
                  <a:pt x="14630400" y="0"/>
                </a:lnTo>
                <a:lnTo>
                  <a:pt x="0" y="0"/>
                </a:lnTo>
                <a:lnTo>
                  <a:pt x="0" y="13257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70D3D3E5-0E23-274C-9962-BEA8E59E9D56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DE34C67-EF85-5741-BCC6-1C9234DAED84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Title 23">
            <a:extLst>
              <a:ext uri="{FF2B5EF4-FFF2-40B4-BE49-F238E27FC236}">
                <a16:creationId xmlns:a16="http://schemas.microsoft.com/office/drawing/2014/main" id="{B00B551D-C2BA-4CDD-916B-071BF2EC950A}"/>
              </a:ext>
            </a:extLst>
          </p:cNvPr>
          <p:cNvSpPr txBox="1">
            <a:spLocks/>
          </p:cNvSpPr>
          <p:nvPr userDrawn="1"/>
        </p:nvSpPr>
        <p:spPr>
          <a:xfrm>
            <a:off x="649510" y="157851"/>
            <a:ext cx="10937489" cy="6232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 err="1"/>
              <a:t>Cliparts</a:t>
            </a:r>
            <a:r>
              <a:rPr lang="en-US"/>
              <a:t> for your use</a:t>
            </a:r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B0B73BC4-958C-49B8-B0AD-9CD441C12F92}"/>
              </a:ext>
            </a:extLst>
          </p:cNvPr>
          <p:cNvSpPr/>
          <p:nvPr userDrawn="1"/>
        </p:nvSpPr>
        <p:spPr>
          <a:xfrm>
            <a:off x="2733793" y="2038791"/>
            <a:ext cx="380365" cy="595630"/>
          </a:xfrm>
          <a:custGeom>
            <a:avLst/>
            <a:gdLst/>
            <a:ahLst/>
            <a:cxnLst/>
            <a:rect l="l" t="t" r="r" b="b"/>
            <a:pathLst>
              <a:path w="380364" h="595630">
                <a:moveTo>
                  <a:pt x="181665" y="0"/>
                </a:moveTo>
                <a:lnTo>
                  <a:pt x="141088" y="3435"/>
                </a:lnTo>
                <a:lnTo>
                  <a:pt x="98219" y="16812"/>
                </a:lnTo>
                <a:lnTo>
                  <a:pt x="54367" y="44309"/>
                </a:lnTo>
                <a:lnTo>
                  <a:pt x="24836" y="76619"/>
                </a:lnTo>
                <a:lnTo>
                  <a:pt x="5934" y="116375"/>
                </a:lnTo>
                <a:lnTo>
                  <a:pt x="0" y="179410"/>
                </a:lnTo>
                <a:lnTo>
                  <a:pt x="4898" y="210375"/>
                </a:lnTo>
                <a:lnTo>
                  <a:pt x="19912" y="250809"/>
                </a:lnTo>
                <a:lnTo>
                  <a:pt x="47838" y="289951"/>
                </a:lnTo>
                <a:lnTo>
                  <a:pt x="84750" y="317340"/>
                </a:lnTo>
                <a:lnTo>
                  <a:pt x="129459" y="333105"/>
                </a:lnTo>
                <a:lnTo>
                  <a:pt x="167579" y="337165"/>
                </a:lnTo>
                <a:lnTo>
                  <a:pt x="166766" y="339413"/>
                </a:lnTo>
                <a:lnTo>
                  <a:pt x="147005" y="373855"/>
                </a:lnTo>
                <a:lnTo>
                  <a:pt x="118292" y="418486"/>
                </a:lnTo>
                <a:lnTo>
                  <a:pt x="84753" y="465008"/>
                </a:lnTo>
                <a:lnTo>
                  <a:pt x="42954" y="515168"/>
                </a:lnTo>
                <a:lnTo>
                  <a:pt x="37628" y="523951"/>
                </a:lnTo>
                <a:lnTo>
                  <a:pt x="57902" y="559237"/>
                </a:lnTo>
                <a:lnTo>
                  <a:pt x="95723" y="589781"/>
                </a:lnTo>
                <a:lnTo>
                  <a:pt x="102221" y="593588"/>
                </a:lnTo>
                <a:lnTo>
                  <a:pt x="109259" y="595210"/>
                </a:lnTo>
                <a:lnTo>
                  <a:pt x="116381" y="594545"/>
                </a:lnTo>
                <a:lnTo>
                  <a:pt x="153279" y="569816"/>
                </a:lnTo>
                <a:lnTo>
                  <a:pt x="185270" y="542091"/>
                </a:lnTo>
                <a:lnTo>
                  <a:pt x="220105" y="507180"/>
                </a:lnTo>
                <a:lnTo>
                  <a:pt x="249018" y="476265"/>
                </a:lnTo>
                <a:lnTo>
                  <a:pt x="302735" y="411474"/>
                </a:lnTo>
                <a:lnTo>
                  <a:pt x="334305" y="367277"/>
                </a:lnTo>
                <a:lnTo>
                  <a:pt x="360100" y="318375"/>
                </a:lnTo>
                <a:lnTo>
                  <a:pt x="376723" y="261016"/>
                </a:lnTo>
                <a:lnTo>
                  <a:pt x="380105" y="222618"/>
                </a:lnTo>
                <a:lnTo>
                  <a:pt x="380250" y="197168"/>
                </a:lnTo>
                <a:lnTo>
                  <a:pt x="377819" y="171854"/>
                </a:lnTo>
                <a:lnTo>
                  <a:pt x="367776" y="132848"/>
                </a:lnTo>
                <a:lnTo>
                  <a:pt x="349824" y="93325"/>
                </a:lnTo>
                <a:lnTo>
                  <a:pt x="320170" y="55034"/>
                </a:lnTo>
                <a:lnTo>
                  <a:pt x="288170" y="30210"/>
                </a:lnTo>
                <a:lnTo>
                  <a:pt x="253102" y="13897"/>
                </a:lnTo>
                <a:lnTo>
                  <a:pt x="199388" y="1439"/>
                </a:lnTo>
                <a:lnTo>
                  <a:pt x="181665" y="0"/>
                </a:lnTo>
                <a:close/>
              </a:path>
            </a:pathLst>
          </a:custGeom>
          <a:solidFill>
            <a:srgbClr val="00A65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3">
            <a:extLst>
              <a:ext uri="{FF2B5EF4-FFF2-40B4-BE49-F238E27FC236}">
                <a16:creationId xmlns:a16="http://schemas.microsoft.com/office/drawing/2014/main" id="{BE4463E9-9A74-43EB-AF8D-95DBA4899730}"/>
              </a:ext>
            </a:extLst>
          </p:cNvPr>
          <p:cNvSpPr/>
          <p:nvPr userDrawn="1"/>
        </p:nvSpPr>
        <p:spPr>
          <a:xfrm>
            <a:off x="2281004" y="2038764"/>
            <a:ext cx="381000" cy="595630"/>
          </a:xfrm>
          <a:custGeom>
            <a:avLst/>
            <a:gdLst/>
            <a:ahLst/>
            <a:cxnLst/>
            <a:rect l="l" t="t" r="r" b="b"/>
            <a:pathLst>
              <a:path w="381000" h="595630">
                <a:moveTo>
                  <a:pt x="175547" y="0"/>
                </a:moveTo>
                <a:lnTo>
                  <a:pt x="134948" y="4684"/>
                </a:lnTo>
                <a:lnTo>
                  <a:pt x="97383" y="17064"/>
                </a:lnTo>
                <a:lnTo>
                  <a:pt x="56395" y="42295"/>
                </a:lnTo>
                <a:lnTo>
                  <a:pt x="26621" y="73523"/>
                </a:lnTo>
                <a:lnTo>
                  <a:pt x="6513" y="113419"/>
                </a:lnTo>
                <a:lnTo>
                  <a:pt x="0" y="183999"/>
                </a:lnTo>
                <a:lnTo>
                  <a:pt x="6601" y="218360"/>
                </a:lnTo>
                <a:lnTo>
                  <a:pt x="24358" y="259880"/>
                </a:lnTo>
                <a:lnTo>
                  <a:pt x="51381" y="293972"/>
                </a:lnTo>
                <a:lnTo>
                  <a:pt x="92581" y="321457"/>
                </a:lnTo>
                <a:lnTo>
                  <a:pt x="131307" y="333607"/>
                </a:lnTo>
                <a:lnTo>
                  <a:pt x="167320" y="337193"/>
                </a:lnTo>
                <a:lnTo>
                  <a:pt x="165860" y="340672"/>
                </a:lnTo>
                <a:lnTo>
                  <a:pt x="132042" y="397155"/>
                </a:lnTo>
                <a:lnTo>
                  <a:pt x="90320" y="457805"/>
                </a:lnTo>
                <a:lnTo>
                  <a:pt x="34593" y="525343"/>
                </a:lnTo>
                <a:lnTo>
                  <a:pt x="33932" y="536621"/>
                </a:lnTo>
                <a:lnTo>
                  <a:pt x="95870" y="590126"/>
                </a:lnTo>
                <a:lnTo>
                  <a:pt x="108275" y="595192"/>
                </a:lnTo>
                <a:lnTo>
                  <a:pt x="114783" y="594771"/>
                </a:lnTo>
                <a:lnTo>
                  <a:pt x="164966" y="559598"/>
                </a:lnTo>
                <a:lnTo>
                  <a:pt x="198408" y="529264"/>
                </a:lnTo>
                <a:lnTo>
                  <a:pt x="231747" y="494704"/>
                </a:lnTo>
                <a:lnTo>
                  <a:pt x="266355" y="455658"/>
                </a:lnTo>
                <a:lnTo>
                  <a:pt x="304950" y="407992"/>
                </a:lnTo>
                <a:lnTo>
                  <a:pt x="332649" y="369374"/>
                </a:lnTo>
                <a:lnTo>
                  <a:pt x="354976" y="329319"/>
                </a:lnTo>
                <a:lnTo>
                  <a:pt x="372915" y="275265"/>
                </a:lnTo>
                <a:lnTo>
                  <a:pt x="379504" y="232500"/>
                </a:lnTo>
                <a:lnTo>
                  <a:pt x="380491" y="208354"/>
                </a:lnTo>
                <a:lnTo>
                  <a:pt x="379062" y="184204"/>
                </a:lnTo>
                <a:lnTo>
                  <a:pt x="370663" y="143452"/>
                </a:lnTo>
                <a:lnTo>
                  <a:pt x="351064" y="96134"/>
                </a:lnTo>
                <a:lnTo>
                  <a:pt x="323213" y="58669"/>
                </a:lnTo>
                <a:lnTo>
                  <a:pt x="290442" y="31846"/>
                </a:lnTo>
                <a:lnTo>
                  <a:pt x="255431" y="14917"/>
                </a:lnTo>
                <a:lnTo>
                  <a:pt x="216442" y="4358"/>
                </a:lnTo>
                <a:lnTo>
                  <a:pt x="196102" y="1178"/>
                </a:lnTo>
                <a:lnTo>
                  <a:pt x="175547" y="0"/>
                </a:lnTo>
                <a:close/>
              </a:path>
            </a:pathLst>
          </a:custGeom>
          <a:solidFill>
            <a:srgbClr val="00A65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14">
            <a:extLst>
              <a:ext uri="{FF2B5EF4-FFF2-40B4-BE49-F238E27FC236}">
                <a16:creationId xmlns:a16="http://schemas.microsoft.com/office/drawing/2014/main" id="{59714B47-4498-4470-8205-8A5BA64BC422}"/>
              </a:ext>
            </a:extLst>
          </p:cNvPr>
          <p:cNvSpPr/>
          <p:nvPr userDrawn="1"/>
        </p:nvSpPr>
        <p:spPr>
          <a:xfrm>
            <a:off x="2733793" y="3729447"/>
            <a:ext cx="380365" cy="595630"/>
          </a:xfrm>
          <a:custGeom>
            <a:avLst/>
            <a:gdLst/>
            <a:ahLst/>
            <a:cxnLst/>
            <a:rect l="l" t="t" r="r" b="b"/>
            <a:pathLst>
              <a:path w="380364" h="595629">
                <a:moveTo>
                  <a:pt x="181665" y="0"/>
                </a:moveTo>
                <a:lnTo>
                  <a:pt x="141088" y="3435"/>
                </a:lnTo>
                <a:lnTo>
                  <a:pt x="98219" y="16812"/>
                </a:lnTo>
                <a:lnTo>
                  <a:pt x="54367" y="44309"/>
                </a:lnTo>
                <a:lnTo>
                  <a:pt x="24836" y="76619"/>
                </a:lnTo>
                <a:lnTo>
                  <a:pt x="5934" y="116375"/>
                </a:lnTo>
                <a:lnTo>
                  <a:pt x="0" y="179410"/>
                </a:lnTo>
                <a:lnTo>
                  <a:pt x="4898" y="210375"/>
                </a:lnTo>
                <a:lnTo>
                  <a:pt x="19912" y="250809"/>
                </a:lnTo>
                <a:lnTo>
                  <a:pt x="47838" y="289951"/>
                </a:lnTo>
                <a:lnTo>
                  <a:pt x="84750" y="317340"/>
                </a:lnTo>
                <a:lnTo>
                  <a:pt x="129459" y="333105"/>
                </a:lnTo>
                <a:lnTo>
                  <a:pt x="167579" y="337165"/>
                </a:lnTo>
                <a:lnTo>
                  <a:pt x="166766" y="339413"/>
                </a:lnTo>
                <a:lnTo>
                  <a:pt x="147005" y="373855"/>
                </a:lnTo>
                <a:lnTo>
                  <a:pt x="118292" y="418486"/>
                </a:lnTo>
                <a:lnTo>
                  <a:pt x="84753" y="465008"/>
                </a:lnTo>
                <a:lnTo>
                  <a:pt x="42954" y="515168"/>
                </a:lnTo>
                <a:lnTo>
                  <a:pt x="37628" y="523951"/>
                </a:lnTo>
                <a:lnTo>
                  <a:pt x="57902" y="559237"/>
                </a:lnTo>
                <a:lnTo>
                  <a:pt x="95723" y="589781"/>
                </a:lnTo>
                <a:lnTo>
                  <a:pt x="102221" y="593588"/>
                </a:lnTo>
                <a:lnTo>
                  <a:pt x="109259" y="595210"/>
                </a:lnTo>
                <a:lnTo>
                  <a:pt x="116381" y="594545"/>
                </a:lnTo>
                <a:lnTo>
                  <a:pt x="153279" y="569816"/>
                </a:lnTo>
                <a:lnTo>
                  <a:pt x="185270" y="542091"/>
                </a:lnTo>
                <a:lnTo>
                  <a:pt x="220105" y="507180"/>
                </a:lnTo>
                <a:lnTo>
                  <a:pt x="249018" y="476265"/>
                </a:lnTo>
                <a:lnTo>
                  <a:pt x="302735" y="411474"/>
                </a:lnTo>
                <a:lnTo>
                  <a:pt x="334305" y="367277"/>
                </a:lnTo>
                <a:lnTo>
                  <a:pt x="360100" y="318375"/>
                </a:lnTo>
                <a:lnTo>
                  <a:pt x="376723" y="261016"/>
                </a:lnTo>
                <a:lnTo>
                  <a:pt x="380105" y="222618"/>
                </a:lnTo>
                <a:lnTo>
                  <a:pt x="380250" y="197168"/>
                </a:lnTo>
                <a:lnTo>
                  <a:pt x="377819" y="171854"/>
                </a:lnTo>
                <a:lnTo>
                  <a:pt x="367776" y="132848"/>
                </a:lnTo>
                <a:lnTo>
                  <a:pt x="349824" y="93325"/>
                </a:lnTo>
                <a:lnTo>
                  <a:pt x="320170" y="55034"/>
                </a:lnTo>
                <a:lnTo>
                  <a:pt x="288170" y="30210"/>
                </a:lnTo>
                <a:lnTo>
                  <a:pt x="253102" y="13897"/>
                </a:lnTo>
                <a:lnTo>
                  <a:pt x="199388" y="1439"/>
                </a:lnTo>
                <a:lnTo>
                  <a:pt x="181665" y="0"/>
                </a:lnTo>
                <a:close/>
              </a:path>
            </a:pathLst>
          </a:custGeom>
          <a:solidFill>
            <a:srgbClr val="0065E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15">
            <a:extLst>
              <a:ext uri="{FF2B5EF4-FFF2-40B4-BE49-F238E27FC236}">
                <a16:creationId xmlns:a16="http://schemas.microsoft.com/office/drawing/2014/main" id="{E9C35F66-2E31-4CB3-AA99-EF953C90BC11}"/>
              </a:ext>
            </a:extLst>
          </p:cNvPr>
          <p:cNvSpPr/>
          <p:nvPr userDrawn="1"/>
        </p:nvSpPr>
        <p:spPr>
          <a:xfrm>
            <a:off x="2281004" y="3729420"/>
            <a:ext cx="381000" cy="595630"/>
          </a:xfrm>
          <a:custGeom>
            <a:avLst/>
            <a:gdLst/>
            <a:ahLst/>
            <a:cxnLst/>
            <a:rect l="l" t="t" r="r" b="b"/>
            <a:pathLst>
              <a:path w="381000" h="595629">
                <a:moveTo>
                  <a:pt x="175547" y="0"/>
                </a:moveTo>
                <a:lnTo>
                  <a:pt x="134948" y="4684"/>
                </a:lnTo>
                <a:lnTo>
                  <a:pt x="97383" y="17064"/>
                </a:lnTo>
                <a:lnTo>
                  <a:pt x="56395" y="42295"/>
                </a:lnTo>
                <a:lnTo>
                  <a:pt x="26621" y="73523"/>
                </a:lnTo>
                <a:lnTo>
                  <a:pt x="6513" y="113419"/>
                </a:lnTo>
                <a:lnTo>
                  <a:pt x="0" y="183999"/>
                </a:lnTo>
                <a:lnTo>
                  <a:pt x="6601" y="218360"/>
                </a:lnTo>
                <a:lnTo>
                  <a:pt x="24358" y="259880"/>
                </a:lnTo>
                <a:lnTo>
                  <a:pt x="51381" y="293972"/>
                </a:lnTo>
                <a:lnTo>
                  <a:pt x="92581" y="321457"/>
                </a:lnTo>
                <a:lnTo>
                  <a:pt x="131307" y="333607"/>
                </a:lnTo>
                <a:lnTo>
                  <a:pt x="167320" y="337193"/>
                </a:lnTo>
                <a:lnTo>
                  <a:pt x="165860" y="340672"/>
                </a:lnTo>
                <a:lnTo>
                  <a:pt x="132042" y="397155"/>
                </a:lnTo>
                <a:lnTo>
                  <a:pt x="90320" y="457805"/>
                </a:lnTo>
                <a:lnTo>
                  <a:pt x="34593" y="525343"/>
                </a:lnTo>
                <a:lnTo>
                  <a:pt x="33932" y="536621"/>
                </a:lnTo>
                <a:lnTo>
                  <a:pt x="95870" y="590126"/>
                </a:lnTo>
                <a:lnTo>
                  <a:pt x="108275" y="595192"/>
                </a:lnTo>
                <a:lnTo>
                  <a:pt x="114783" y="594771"/>
                </a:lnTo>
                <a:lnTo>
                  <a:pt x="164966" y="559598"/>
                </a:lnTo>
                <a:lnTo>
                  <a:pt x="198408" y="529264"/>
                </a:lnTo>
                <a:lnTo>
                  <a:pt x="231747" y="494704"/>
                </a:lnTo>
                <a:lnTo>
                  <a:pt x="266355" y="455658"/>
                </a:lnTo>
                <a:lnTo>
                  <a:pt x="304950" y="407992"/>
                </a:lnTo>
                <a:lnTo>
                  <a:pt x="332649" y="369374"/>
                </a:lnTo>
                <a:lnTo>
                  <a:pt x="354976" y="329319"/>
                </a:lnTo>
                <a:lnTo>
                  <a:pt x="372915" y="275265"/>
                </a:lnTo>
                <a:lnTo>
                  <a:pt x="379504" y="232500"/>
                </a:lnTo>
                <a:lnTo>
                  <a:pt x="380491" y="208354"/>
                </a:lnTo>
                <a:lnTo>
                  <a:pt x="379062" y="184204"/>
                </a:lnTo>
                <a:lnTo>
                  <a:pt x="370663" y="143452"/>
                </a:lnTo>
                <a:lnTo>
                  <a:pt x="351064" y="96134"/>
                </a:lnTo>
                <a:lnTo>
                  <a:pt x="323213" y="58669"/>
                </a:lnTo>
                <a:lnTo>
                  <a:pt x="290442" y="31846"/>
                </a:lnTo>
                <a:lnTo>
                  <a:pt x="255431" y="14917"/>
                </a:lnTo>
                <a:lnTo>
                  <a:pt x="216442" y="4358"/>
                </a:lnTo>
                <a:lnTo>
                  <a:pt x="196102" y="1178"/>
                </a:lnTo>
                <a:lnTo>
                  <a:pt x="175547" y="0"/>
                </a:lnTo>
                <a:close/>
              </a:path>
            </a:pathLst>
          </a:custGeom>
          <a:solidFill>
            <a:srgbClr val="0065E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16">
            <a:extLst>
              <a:ext uri="{FF2B5EF4-FFF2-40B4-BE49-F238E27FC236}">
                <a16:creationId xmlns:a16="http://schemas.microsoft.com/office/drawing/2014/main" id="{1E2E12F3-16CA-43C8-BA2E-91059C906DC0}"/>
              </a:ext>
            </a:extLst>
          </p:cNvPr>
          <p:cNvSpPr/>
          <p:nvPr userDrawn="1"/>
        </p:nvSpPr>
        <p:spPr>
          <a:xfrm>
            <a:off x="5881262" y="3729447"/>
            <a:ext cx="380365" cy="595630"/>
          </a:xfrm>
          <a:custGeom>
            <a:avLst/>
            <a:gdLst/>
            <a:ahLst/>
            <a:cxnLst/>
            <a:rect l="l" t="t" r="r" b="b"/>
            <a:pathLst>
              <a:path w="380364" h="595629">
                <a:moveTo>
                  <a:pt x="181665" y="0"/>
                </a:moveTo>
                <a:lnTo>
                  <a:pt x="141088" y="3435"/>
                </a:lnTo>
                <a:lnTo>
                  <a:pt x="98219" y="16812"/>
                </a:lnTo>
                <a:lnTo>
                  <a:pt x="54367" y="44309"/>
                </a:lnTo>
                <a:lnTo>
                  <a:pt x="24836" y="76619"/>
                </a:lnTo>
                <a:lnTo>
                  <a:pt x="5934" y="116375"/>
                </a:lnTo>
                <a:lnTo>
                  <a:pt x="0" y="179410"/>
                </a:lnTo>
                <a:lnTo>
                  <a:pt x="4898" y="210375"/>
                </a:lnTo>
                <a:lnTo>
                  <a:pt x="19912" y="250809"/>
                </a:lnTo>
                <a:lnTo>
                  <a:pt x="47838" y="289951"/>
                </a:lnTo>
                <a:lnTo>
                  <a:pt x="84750" y="317340"/>
                </a:lnTo>
                <a:lnTo>
                  <a:pt x="129459" y="333105"/>
                </a:lnTo>
                <a:lnTo>
                  <a:pt x="167579" y="337165"/>
                </a:lnTo>
                <a:lnTo>
                  <a:pt x="166766" y="339413"/>
                </a:lnTo>
                <a:lnTo>
                  <a:pt x="147005" y="373855"/>
                </a:lnTo>
                <a:lnTo>
                  <a:pt x="118292" y="418486"/>
                </a:lnTo>
                <a:lnTo>
                  <a:pt x="84753" y="465008"/>
                </a:lnTo>
                <a:lnTo>
                  <a:pt x="42954" y="515168"/>
                </a:lnTo>
                <a:lnTo>
                  <a:pt x="37628" y="523951"/>
                </a:lnTo>
                <a:lnTo>
                  <a:pt x="57902" y="559237"/>
                </a:lnTo>
                <a:lnTo>
                  <a:pt x="95723" y="589781"/>
                </a:lnTo>
                <a:lnTo>
                  <a:pt x="102221" y="593588"/>
                </a:lnTo>
                <a:lnTo>
                  <a:pt x="109259" y="595210"/>
                </a:lnTo>
                <a:lnTo>
                  <a:pt x="116381" y="594545"/>
                </a:lnTo>
                <a:lnTo>
                  <a:pt x="153279" y="569816"/>
                </a:lnTo>
                <a:lnTo>
                  <a:pt x="185270" y="542091"/>
                </a:lnTo>
                <a:lnTo>
                  <a:pt x="220105" y="507180"/>
                </a:lnTo>
                <a:lnTo>
                  <a:pt x="249018" y="476265"/>
                </a:lnTo>
                <a:lnTo>
                  <a:pt x="302735" y="411474"/>
                </a:lnTo>
                <a:lnTo>
                  <a:pt x="334305" y="367277"/>
                </a:lnTo>
                <a:lnTo>
                  <a:pt x="360100" y="318375"/>
                </a:lnTo>
                <a:lnTo>
                  <a:pt x="376723" y="261016"/>
                </a:lnTo>
                <a:lnTo>
                  <a:pt x="380105" y="222618"/>
                </a:lnTo>
                <a:lnTo>
                  <a:pt x="380250" y="197168"/>
                </a:lnTo>
                <a:lnTo>
                  <a:pt x="377819" y="171854"/>
                </a:lnTo>
                <a:lnTo>
                  <a:pt x="367776" y="132848"/>
                </a:lnTo>
                <a:lnTo>
                  <a:pt x="349824" y="93325"/>
                </a:lnTo>
                <a:lnTo>
                  <a:pt x="320170" y="55034"/>
                </a:lnTo>
                <a:lnTo>
                  <a:pt x="288170" y="30210"/>
                </a:lnTo>
                <a:lnTo>
                  <a:pt x="253102" y="13897"/>
                </a:lnTo>
                <a:lnTo>
                  <a:pt x="199388" y="1439"/>
                </a:lnTo>
                <a:lnTo>
                  <a:pt x="181665" y="0"/>
                </a:lnTo>
                <a:close/>
              </a:path>
            </a:pathLst>
          </a:custGeom>
          <a:solidFill>
            <a:srgbClr val="4FE3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17">
            <a:extLst>
              <a:ext uri="{FF2B5EF4-FFF2-40B4-BE49-F238E27FC236}">
                <a16:creationId xmlns:a16="http://schemas.microsoft.com/office/drawing/2014/main" id="{7B518C41-77FE-4AD8-849D-13D534EE0071}"/>
              </a:ext>
            </a:extLst>
          </p:cNvPr>
          <p:cNvSpPr/>
          <p:nvPr userDrawn="1"/>
        </p:nvSpPr>
        <p:spPr>
          <a:xfrm>
            <a:off x="5428472" y="3729420"/>
            <a:ext cx="381000" cy="595630"/>
          </a:xfrm>
          <a:custGeom>
            <a:avLst/>
            <a:gdLst/>
            <a:ahLst/>
            <a:cxnLst/>
            <a:rect l="l" t="t" r="r" b="b"/>
            <a:pathLst>
              <a:path w="381000" h="595629">
                <a:moveTo>
                  <a:pt x="175547" y="0"/>
                </a:moveTo>
                <a:lnTo>
                  <a:pt x="134948" y="4684"/>
                </a:lnTo>
                <a:lnTo>
                  <a:pt x="97383" y="17064"/>
                </a:lnTo>
                <a:lnTo>
                  <a:pt x="56395" y="42295"/>
                </a:lnTo>
                <a:lnTo>
                  <a:pt x="26621" y="73523"/>
                </a:lnTo>
                <a:lnTo>
                  <a:pt x="6513" y="113419"/>
                </a:lnTo>
                <a:lnTo>
                  <a:pt x="0" y="183999"/>
                </a:lnTo>
                <a:lnTo>
                  <a:pt x="6601" y="218360"/>
                </a:lnTo>
                <a:lnTo>
                  <a:pt x="24358" y="259880"/>
                </a:lnTo>
                <a:lnTo>
                  <a:pt x="51381" y="293972"/>
                </a:lnTo>
                <a:lnTo>
                  <a:pt x="92581" y="321457"/>
                </a:lnTo>
                <a:lnTo>
                  <a:pt x="131307" y="333607"/>
                </a:lnTo>
                <a:lnTo>
                  <a:pt x="167320" y="337193"/>
                </a:lnTo>
                <a:lnTo>
                  <a:pt x="165860" y="340672"/>
                </a:lnTo>
                <a:lnTo>
                  <a:pt x="132042" y="397155"/>
                </a:lnTo>
                <a:lnTo>
                  <a:pt x="90320" y="457805"/>
                </a:lnTo>
                <a:lnTo>
                  <a:pt x="34593" y="525343"/>
                </a:lnTo>
                <a:lnTo>
                  <a:pt x="33932" y="536621"/>
                </a:lnTo>
                <a:lnTo>
                  <a:pt x="95870" y="590126"/>
                </a:lnTo>
                <a:lnTo>
                  <a:pt x="108275" y="595192"/>
                </a:lnTo>
                <a:lnTo>
                  <a:pt x="114783" y="594771"/>
                </a:lnTo>
                <a:lnTo>
                  <a:pt x="164966" y="559598"/>
                </a:lnTo>
                <a:lnTo>
                  <a:pt x="198408" y="529264"/>
                </a:lnTo>
                <a:lnTo>
                  <a:pt x="231747" y="494704"/>
                </a:lnTo>
                <a:lnTo>
                  <a:pt x="266355" y="455658"/>
                </a:lnTo>
                <a:lnTo>
                  <a:pt x="304950" y="407992"/>
                </a:lnTo>
                <a:lnTo>
                  <a:pt x="332649" y="369374"/>
                </a:lnTo>
                <a:lnTo>
                  <a:pt x="354976" y="329319"/>
                </a:lnTo>
                <a:lnTo>
                  <a:pt x="372915" y="275265"/>
                </a:lnTo>
                <a:lnTo>
                  <a:pt x="379504" y="232500"/>
                </a:lnTo>
                <a:lnTo>
                  <a:pt x="380491" y="208354"/>
                </a:lnTo>
                <a:lnTo>
                  <a:pt x="379062" y="184204"/>
                </a:lnTo>
                <a:lnTo>
                  <a:pt x="370663" y="143452"/>
                </a:lnTo>
                <a:lnTo>
                  <a:pt x="351064" y="96134"/>
                </a:lnTo>
                <a:lnTo>
                  <a:pt x="323213" y="58669"/>
                </a:lnTo>
                <a:lnTo>
                  <a:pt x="290442" y="31846"/>
                </a:lnTo>
                <a:lnTo>
                  <a:pt x="255431" y="14917"/>
                </a:lnTo>
                <a:lnTo>
                  <a:pt x="216442" y="4358"/>
                </a:lnTo>
                <a:lnTo>
                  <a:pt x="196102" y="1178"/>
                </a:lnTo>
                <a:lnTo>
                  <a:pt x="175547" y="0"/>
                </a:lnTo>
                <a:close/>
              </a:path>
            </a:pathLst>
          </a:custGeom>
          <a:solidFill>
            <a:srgbClr val="4FE3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0">
            <a:extLst>
              <a:ext uri="{FF2B5EF4-FFF2-40B4-BE49-F238E27FC236}">
                <a16:creationId xmlns:a16="http://schemas.microsoft.com/office/drawing/2014/main" id="{648490F5-6307-481A-9F99-15F6CDACDFF1}"/>
              </a:ext>
            </a:extLst>
          </p:cNvPr>
          <p:cNvSpPr/>
          <p:nvPr userDrawn="1"/>
        </p:nvSpPr>
        <p:spPr>
          <a:xfrm>
            <a:off x="5881262" y="2038791"/>
            <a:ext cx="380365" cy="595630"/>
          </a:xfrm>
          <a:custGeom>
            <a:avLst/>
            <a:gdLst/>
            <a:ahLst/>
            <a:cxnLst/>
            <a:rect l="l" t="t" r="r" b="b"/>
            <a:pathLst>
              <a:path w="380364" h="595630">
                <a:moveTo>
                  <a:pt x="181665" y="0"/>
                </a:moveTo>
                <a:lnTo>
                  <a:pt x="141088" y="3435"/>
                </a:lnTo>
                <a:lnTo>
                  <a:pt x="98219" y="16812"/>
                </a:lnTo>
                <a:lnTo>
                  <a:pt x="54367" y="44309"/>
                </a:lnTo>
                <a:lnTo>
                  <a:pt x="24836" y="76619"/>
                </a:lnTo>
                <a:lnTo>
                  <a:pt x="5934" y="116375"/>
                </a:lnTo>
                <a:lnTo>
                  <a:pt x="0" y="179410"/>
                </a:lnTo>
                <a:lnTo>
                  <a:pt x="4898" y="210375"/>
                </a:lnTo>
                <a:lnTo>
                  <a:pt x="19912" y="250809"/>
                </a:lnTo>
                <a:lnTo>
                  <a:pt x="47838" y="289951"/>
                </a:lnTo>
                <a:lnTo>
                  <a:pt x="84750" y="317340"/>
                </a:lnTo>
                <a:lnTo>
                  <a:pt x="129459" y="333105"/>
                </a:lnTo>
                <a:lnTo>
                  <a:pt x="167579" y="337165"/>
                </a:lnTo>
                <a:lnTo>
                  <a:pt x="166766" y="339413"/>
                </a:lnTo>
                <a:lnTo>
                  <a:pt x="147005" y="373855"/>
                </a:lnTo>
                <a:lnTo>
                  <a:pt x="118292" y="418486"/>
                </a:lnTo>
                <a:lnTo>
                  <a:pt x="84753" y="465008"/>
                </a:lnTo>
                <a:lnTo>
                  <a:pt x="42954" y="515168"/>
                </a:lnTo>
                <a:lnTo>
                  <a:pt x="37628" y="523951"/>
                </a:lnTo>
                <a:lnTo>
                  <a:pt x="57902" y="559237"/>
                </a:lnTo>
                <a:lnTo>
                  <a:pt x="95723" y="589781"/>
                </a:lnTo>
                <a:lnTo>
                  <a:pt x="102221" y="593588"/>
                </a:lnTo>
                <a:lnTo>
                  <a:pt x="109259" y="595210"/>
                </a:lnTo>
                <a:lnTo>
                  <a:pt x="116381" y="594545"/>
                </a:lnTo>
                <a:lnTo>
                  <a:pt x="153279" y="569816"/>
                </a:lnTo>
                <a:lnTo>
                  <a:pt x="185270" y="542091"/>
                </a:lnTo>
                <a:lnTo>
                  <a:pt x="220105" y="507180"/>
                </a:lnTo>
                <a:lnTo>
                  <a:pt x="249018" y="476265"/>
                </a:lnTo>
                <a:lnTo>
                  <a:pt x="302735" y="411474"/>
                </a:lnTo>
                <a:lnTo>
                  <a:pt x="334305" y="367277"/>
                </a:lnTo>
                <a:lnTo>
                  <a:pt x="360100" y="318375"/>
                </a:lnTo>
                <a:lnTo>
                  <a:pt x="376723" y="261016"/>
                </a:lnTo>
                <a:lnTo>
                  <a:pt x="380105" y="222618"/>
                </a:lnTo>
                <a:lnTo>
                  <a:pt x="380250" y="197168"/>
                </a:lnTo>
                <a:lnTo>
                  <a:pt x="377819" y="171854"/>
                </a:lnTo>
                <a:lnTo>
                  <a:pt x="367776" y="132848"/>
                </a:lnTo>
                <a:lnTo>
                  <a:pt x="349824" y="93325"/>
                </a:lnTo>
                <a:lnTo>
                  <a:pt x="320170" y="55034"/>
                </a:lnTo>
                <a:lnTo>
                  <a:pt x="288170" y="30210"/>
                </a:lnTo>
                <a:lnTo>
                  <a:pt x="253102" y="13897"/>
                </a:lnTo>
                <a:lnTo>
                  <a:pt x="199388" y="1439"/>
                </a:lnTo>
                <a:lnTo>
                  <a:pt x="181665" y="0"/>
                </a:lnTo>
                <a:close/>
              </a:path>
            </a:pathLst>
          </a:custGeom>
          <a:solidFill>
            <a:srgbClr val="93D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21">
            <a:extLst>
              <a:ext uri="{FF2B5EF4-FFF2-40B4-BE49-F238E27FC236}">
                <a16:creationId xmlns:a16="http://schemas.microsoft.com/office/drawing/2014/main" id="{0F712863-B2DD-47D7-957B-22E0E3A47D43}"/>
              </a:ext>
            </a:extLst>
          </p:cNvPr>
          <p:cNvSpPr/>
          <p:nvPr userDrawn="1"/>
        </p:nvSpPr>
        <p:spPr>
          <a:xfrm>
            <a:off x="5428472" y="2038764"/>
            <a:ext cx="381000" cy="595630"/>
          </a:xfrm>
          <a:custGeom>
            <a:avLst/>
            <a:gdLst/>
            <a:ahLst/>
            <a:cxnLst/>
            <a:rect l="l" t="t" r="r" b="b"/>
            <a:pathLst>
              <a:path w="381000" h="595630">
                <a:moveTo>
                  <a:pt x="175547" y="0"/>
                </a:moveTo>
                <a:lnTo>
                  <a:pt x="134948" y="4684"/>
                </a:lnTo>
                <a:lnTo>
                  <a:pt x="97383" y="17064"/>
                </a:lnTo>
                <a:lnTo>
                  <a:pt x="56395" y="42295"/>
                </a:lnTo>
                <a:lnTo>
                  <a:pt x="26621" y="73523"/>
                </a:lnTo>
                <a:lnTo>
                  <a:pt x="6513" y="113419"/>
                </a:lnTo>
                <a:lnTo>
                  <a:pt x="0" y="183999"/>
                </a:lnTo>
                <a:lnTo>
                  <a:pt x="6601" y="218360"/>
                </a:lnTo>
                <a:lnTo>
                  <a:pt x="24358" y="259880"/>
                </a:lnTo>
                <a:lnTo>
                  <a:pt x="51381" y="293972"/>
                </a:lnTo>
                <a:lnTo>
                  <a:pt x="92581" y="321457"/>
                </a:lnTo>
                <a:lnTo>
                  <a:pt x="131307" y="333607"/>
                </a:lnTo>
                <a:lnTo>
                  <a:pt x="167320" y="337193"/>
                </a:lnTo>
                <a:lnTo>
                  <a:pt x="165860" y="340672"/>
                </a:lnTo>
                <a:lnTo>
                  <a:pt x="132042" y="397155"/>
                </a:lnTo>
                <a:lnTo>
                  <a:pt x="90320" y="457805"/>
                </a:lnTo>
                <a:lnTo>
                  <a:pt x="34593" y="525343"/>
                </a:lnTo>
                <a:lnTo>
                  <a:pt x="33932" y="536621"/>
                </a:lnTo>
                <a:lnTo>
                  <a:pt x="95870" y="590126"/>
                </a:lnTo>
                <a:lnTo>
                  <a:pt x="108275" y="595192"/>
                </a:lnTo>
                <a:lnTo>
                  <a:pt x="114783" y="594771"/>
                </a:lnTo>
                <a:lnTo>
                  <a:pt x="164966" y="559598"/>
                </a:lnTo>
                <a:lnTo>
                  <a:pt x="198408" y="529264"/>
                </a:lnTo>
                <a:lnTo>
                  <a:pt x="231747" y="494704"/>
                </a:lnTo>
                <a:lnTo>
                  <a:pt x="266355" y="455658"/>
                </a:lnTo>
                <a:lnTo>
                  <a:pt x="304950" y="407992"/>
                </a:lnTo>
                <a:lnTo>
                  <a:pt x="332649" y="369374"/>
                </a:lnTo>
                <a:lnTo>
                  <a:pt x="354976" y="329319"/>
                </a:lnTo>
                <a:lnTo>
                  <a:pt x="372915" y="275265"/>
                </a:lnTo>
                <a:lnTo>
                  <a:pt x="379504" y="232500"/>
                </a:lnTo>
                <a:lnTo>
                  <a:pt x="380491" y="208354"/>
                </a:lnTo>
                <a:lnTo>
                  <a:pt x="379062" y="184204"/>
                </a:lnTo>
                <a:lnTo>
                  <a:pt x="370663" y="143452"/>
                </a:lnTo>
                <a:lnTo>
                  <a:pt x="351064" y="96134"/>
                </a:lnTo>
                <a:lnTo>
                  <a:pt x="323213" y="58669"/>
                </a:lnTo>
                <a:lnTo>
                  <a:pt x="290442" y="31846"/>
                </a:lnTo>
                <a:lnTo>
                  <a:pt x="255431" y="14917"/>
                </a:lnTo>
                <a:lnTo>
                  <a:pt x="216442" y="4358"/>
                </a:lnTo>
                <a:lnTo>
                  <a:pt x="196102" y="1178"/>
                </a:lnTo>
                <a:lnTo>
                  <a:pt x="175547" y="0"/>
                </a:lnTo>
                <a:close/>
              </a:path>
            </a:pathLst>
          </a:custGeom>
          <a:solidFill>
            <a:srgbClr val="93D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22">
            <a:extLst>
              <a:ext uri="{FF2B5EF4-FFF2-40B4-BE49-F238E27FC236}">
                <a16:creationId xmlns:a16="http://schemas.microsoft.com/office/drawing/2014/main" id="{17BEDD88-FB2F-4081-BC53-87BF5D141493}"/>
              </a:ext>
            </a:extLst>
          </p:cNvPr>
          <p:cNvSpPr/>
          <p:nvPr userDrawn="1"/>
        </p:nvSpPr>
        <p:spPr>
          <a:xfrm>
            <a:off x="630621" y="2668833"/>
            <a:ext cx="647065" cy="1012825"/>
          </a:xfrm>
          <a:custGeom>
            <a:avLst/>
            <a:gdLst/>
            <a:ahLst/>
            <a:cxnLst/>
            <a:rect l="l" t="t" r="r" b="b"/>
            <a:pathLst>
              <a:path w="647065" h="1012825">
                <a:moveTo>
                  <a:pt x="460957" y="0"/>
                </a:moveTo>
                <a:lnTo>
                  <a:pt x="411219" y="24117"/>
                </a:lnTo>
                <a:lnTo>
                  <a:pt x="367680" y="58604"/>
                </a:lnTo>
                <a:lnTo>
                  <a:pt x="331656" y="90357"/>
                </a:lnTo>
                <a:lnTo>
                  <a:pt x="293145" y="128108"/>
                </a:lnTo>
                <a:lnTo>
                  <a:pt x="223221" y="202330"/>
                </a:lnTo>
                <a:lnTo>
                  <a:pt x="178900" y="254200"/>
                </a:lnTo>
                <a:lnTo>
                  <a:pt x="140673" y="301250"/>
                </a:lnTo>
                <a:lnTo>
                  <a:pt x="100218" y="355520"/>
                </a:lnTo>
                <a:lnTo>
                  <a:pt x="78147" y="387727"/>
                </a:lnTo>
                <a:lnTo>
                  <a:pt x="53785" y="428970"/>
                </a:lnTo>
                <a:lnTo>
                  <a:pt x="34272" y="470904"/>
                </a:lnTo>
                <a:lnTo>
                  <a:pt x="16075" y="528559"/>
                </a:lnTo>
                <a:lnTo>
                  <a:pt x="6915" y="565906"/>
                </a:lnTo>
                <a:lnTo>
                  <a:pt x="243" y="633782"/>
                </a:lnTo>
                <a:lnTo>
                  <a:pt x="0" y="677068"/>
                </a:lnTo>
                <a:lnTo>
                  <a:pt x="4140" y="720121"/>
                </a:lnTo>
                <a:lnTo>
                  <a:pt x="13822" y="762898"/>
                </a:lnTo>
                <a:lnTo>
                  <a:pt x="29565" y="809601"/>
                </a:lnTo>
                <a:lnTo>
                  <a:pt x="51757" y="853703"/>
                </a:lnTo>
                <a:lnTo>
                  <a:pt x="74955" y="887890"/>
                </a:lnTo>
                <a:lnTo>
                  <a:pt x="102201" y="918829"/>
                </a:lnTo>
                <a:lnTo>
                  <a:pt x="156622" y="961065"/>
                </a:lnTo>
                <a:lnTo>
                  <a:pt x="216280" y="988815"/>
                </a:lnTo>
                <a:lnTo>
                  <a:pt x="277804" y="1005064"/>
                </a:lnTo>
                <a:lnTo>
                  <a:pt x="337792" y="1012455"/>
                </a:lnTo>
                <a:lnTo>
                  <a:pt x="368342" y="1011755"/>
                </a:lnTo>
                <a:lnTo>
                  <a:pt x="406820" y="1006610"/>
                </a:lnTo>
                <a:lnTo>
                  <a:pt x="443972" y="997375"/>
                </a:lnTo>
                <a:lnTo>
                  <a:pt x="479737" y="983858"/>
                </a:lnTo>
                <a:lnTo>
                  <a:pt x="514049" y="965869"/>
                </a:lnTo>
                <a:lnTo>
                  <a:pt x="554326" y="937083"/>
                </a:lnTo>
                <a:lnTo>
                  <a:pt x="589221" y="902077"/>
                </a:lnTo>
                <a:lnTo>
                  <a:pt x="617931" y="860969"/>
                </a:lnTo>
                <a:lnTo>
                  <a:pt x="636706" y="814498"/>
                </a:lnTo>
                <a:lnTo>
                  <a:pt x="646103" y="760594"/>
                </a:lnTo>
                <a:lnTo>
                  <a:pt x="646806" y="707269"/>
                </a:lnTo>
                <a:lnTo>
                  <a:pt x="638474" y="654596"/>
                </a:lnTo>
                <a:lnTo>
                  <a:pt x="620768" y="602649"/>
                </a:lnTo>
                <a:lnTo>
                  <a:pt x="594321" y="553879"/>
                </a:lnTo>
                <a:lnTo>
                  <a:pt x="565431" y="519248"/>
                </a:lnTo>
                <a:lnTo>
                  <a:pt x="525314" y="486133"/>
                </a:lnTo>
                <a:lnTo>
                  <a:pt x="478028" y="461189"/>
                </a:lnTo>
                <a:lnTo>
                  <a:pt x="426600" y="445844"/>
                </a:lnTo>
                <a:lnTo>
                  <a:pt x="361751" y="438934"/>
                </a:lnTo>
                <a:lnTo>
                  <a:pt x="363148" y="435098"/>
                </a:lnTo>
                <a:lnTo>
                  <a:pt x="396740" y="376526"/>
                </a:lnTo>
                <a:lnTo>
                  <a:pt x="435830" y="315096"/>
                </a:lnTo>
                <a:lnTo>
                  <a:pt x="484549" y="245542"/>
                </a:lnTo>
                <a:lnTo>
                  <a:pt x="511992" y="209699"/>
                </a:lnTo>
                <a:lnTo>
                  <a:pt x="542634" y="172731"/>
                </a:lnTo>
                <a:lnTo>
                  <a:pt x="573752" y="136153"/>
                </a:lnTo>
                <a:lnTo>
                  <a:pt x="582805" y="121215"/>
                </a:lnTo>
                <a:lnTo>
                  <a:pt x="569282" y="77847"/>
                </a:lnTo>
                <a:lnTo>
                  <a:pt x="483989" y="9242"/>
                </a:lnTo>
                <a:lnTo>
                  <a:pt x="472930" y="2760"/>
                </a:lnTo>
                <a:lnTo>
                  <a:pt x="460957" y="0"/>
                </a:lnTo>
                <a:close/>
              </a:path>
            </a:pathLst>
          </a:custGeom>
          <a:solidFill>
            <a:srgbClr val="00A65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23">
            <a:extLst>
              <a:ext uri="{FF2B5EF4-FFF2-40B4-BE49-F238E27FC236}">
                <a16:creationId xmlns:a16="http://schemas.microsoft.com/office/drawing/2014/main" id="{CC18862D-6BBB-41F4-B9AE-29926B28CAC5}"/>
              </a:ext>
            </a:extLst>
          </p:cNvPr>
          <p:cNvSpPr/>
          <p:nvPr userDrawn="1"/>
        </p:nvSpPr>
        <p:spPr>
          <a:xfrm>
            <a:off x="1400402" y="2668917"/>
            <a:ext cx="648970" cy="1012825"/>
          </a:xfrm>
          <a:custGeom>
            <a:avLst/>
            <a:gdLst/>
            <a:ahLst/>
            <a:cxnLst/>
            <a:rect l="l" t="t" r="r" b="b"/>
            <a:pathLst>
              <a:path w="648969" h="1012825">
                <a:moveTo>
                  <a:pt x="463042" y="0"/>
                </a:moveTo>
                <a:lnTo>
                  <a:pt x="385892" y="45016"/>
                </a:lnTo>
                <a:lnTo>
                  <a:pt x="347810" y="76595"/>
                </a:lnTo>
                <a:lnTo>
                  <a:pt x="309722" y="112139"/>
                </a:lnTo>
                <a:lnTo>
                  <a:pt x="273159" y="149264"/>
                </a:lnTo>
                <a:lnTo>
                  <a:pt x="233241" y="192917"/>
                </a:lnTo>
                <a:lnTo>
                  <a:pt x="185030" y="247891"/>
                </a:lnTo>
                <a:lnTo>
                  <a:pt x="128500" y="318421"/>
                </a:lnTo>
                <a:lnTo>
                  <a:pt x="99479" y="357341"/>
                </a:lnTo>
                <a:lnTo>
                  <a:pt x="71277" y="400795"/>
                </a:lnTo>
                <a:lnTo>
                  <a:pt x="52230" y="434860"/>
                </a:lnTo>
                <a:lnTo>
                  <a:pt x="30647" y="482074"/>
                </a:lnTo>
                <a:lnTo>
                  <a:pt x="12887" y="544193"/>
                </a:lnTo>
                <a:lnTo>
                  <a:pt x="1680" y="616939"/>
                </a:lnTo>
                <a:lnTo>
                  <a:pt x="0" y="658012"/>
                </a:lnTo>
                <a:lnTo>
                  <a:pt x="2431" y="699092"/>
                </a:lnTo>
                <a:lnTo>
                  <a:pt x="9558" y="740106"/>
                </a:lnTo>
                <a:lnTo>
                  <a:pt x="25322" y="796131"/>
                </a:lnTo>
                <a:lnTo>
                  <a:pt x="50058" y="848907"/>
                </a:lnTo>
                <a:lnTo>
                  <a:pt x="71855" y="882221"/>
                </a:lnTo>
                <a:lnTo>
                  <a:pt x="97442" y="912610"/>
                </a:lnTo>
                <a:lnTo>
                  <a:pt x="126068" y="938506"/>
                </a:lnTo>
                <a:lnTo>
                  <a:pt x="182149" y="974283"/>
                </a:lnTo>
                <a:lnTo>
                  <a:pt x="244698" y="996964"/>
                </a:lnTo>
                <a:lnTo>
                  <a:pt x="313648" y="1010416"/>
                </a:lnTo>
                <a:lnTo>
                  <a:pt x="348613" y="1012419"/>
                </a:lnTo>
                <a:lnTo>
                  <a:pt x="384055" y="1010248"/>
                </a:lnTo>
                <a:lnTo>
                  <a:pt x="450181" y="995543"/>
                </a:lnTo>
                <a:lnTo>
                  <a:pt x="511792" y="967817"/>
                </a:lnTo>
                <a:lnTo>
                  <a:pt x="551283" y="940473"/>
                </a:lnTo>
                <a:lnTo>
                  <a:pt x="585820" y="907213"/>
                </a:lnTo>
                <a:lnTo>
                  <a:pt x="616075" y="866235"/>
                </a:lnTo>
                <a:lnTo>
                  <a:pt x="636138" y="819494"/>
                </a:lnTo>
                <a:lnTo>
                  <a:pt x="645799" y="771003"/>
                </a:lnTo>
                <a:lnTo>
                  <a:pt x="648526" y="723129"/>
                </a:lnTo>
                <a:lnTo>
                  <a:pt x="644113" y="675923"/>
                </a:lnTo>
                <a:lnTo>
                  <a:pt x="632356" y="629436"/>
                </a:lnTo>
                <a:lnTo>
                  <a:pt x="613049" y="583718"/>
                </a:lnTo>
                <a:lnTo>
                  <a:pt x="589091" y="545021"/>
                </a:lnTo>
                <a:lnTo>
                  <a:pt x="559818" y="512370"/>
                </a:lnTo>
                <a:lnTo>
                  <a:pt x="514916" y="478783"/>
                </a:lnTo>
                <a:lnTo>
                  <a:pt x="468282" y="456846"/>
                </a:lnTo>
                <a:lnTo>
                  <a:pt x="423861" y="444944"/>
                </a:lnTo>
                <a:lnTo>
                  <a:pt x="362605" y="438850"/>
                </a:lnTo>
                <a:lnTo>
                  <a:pt x="365082" y="432931"/>
                </a:lnTo>
                <a:lnTo>
                  <a:pt x="394635" y="381788"/>
                </a:lnTo>
                <a:lnTo>
                  <a:pt x="432303" y="322111"/>
                </a:lnTo>
                <a:lnTo>
                  <a:pt x="459141" y="282779"/>
                </a:lnTo>
                <a:lnTo>
                  <a:pt x="491914" y="236289"/>
                </a:lnTo>
                <a:lnTo>
                  <a:pt x="582277" y="126163"/>
                </a:lnTo>
                <a:lnTo>
                  <a:pt x="585885" y="118800"/>
                </a:lnTo>
                <a:lnTo>
                  <a:pt x="587432" y="109229"/>
                </a:lnTo>
                <a:lnTo>
                  <a:pt x="586719" y="99679"/>
                </a:lnTo>
                <a:lnTo>
                  <a:pt x="583547" y="92381"/>
                </a:lnTo>
                <a:lnTo>
                  <a:pt x="484144" y="8624"/>
                </a:lnTo>
                <a:lnTo>
                  <a:pt x="473796" y="2629"/>
                </a:lnTo>
                <a:lnTo>
                  <a:pt x="463042" y="0"/>
                </a:lnTo>
                <a:close/>
              </a:path>
            </a:pathLst>
          </a:custGeom>
          <a:solidFill>
            <a:srgbClr val="00A65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24">
            <a:extLst>
              <a:ext uri="{FF2B5EF4-FFF2-40B4-BE49-F238E27FC236}">
                <a16:creationId xmlns:a16="http://schemas.microsoft.com/office/drawing/2014/main" id="{422F0F84-1DE9-4B8D-9D07-32D017A66F57}"/>
              </a:ext>
            </a:extLst>
          </p:cNvPr>
          <p:cNvSpPr/>
          <p:nvPr userDrawn="1"/>
        </p:nvSpPr>
        <p:spPr>
          <a:xfrm>
            <a:off x="630621" y="4359491"/>
            <a:ext cx="647065" cy="1012825"/>
          </a:xfrm>
          <a:custGeom>
            <a:avLst/>
            <a:gdLst/>
            <a:ahLst/>
            <a:cxnLst/>
            <a:rect l="l" t="t" r="r" b="b"/>
            <a:pathLst>
              <a:path w="647065" h="1012825">
                <a:moveTo>
                  <a:pt x="460957" y="0"/>
                </a:moveTo>
                <a:lnTo>
                  <a:pt x="411219" y="24117"/>
                </a:lnTo>
                <a:lnTo>
                  <a:pt x="367680" y="58604"/>
                </a:lnTo>
                <a:lnTo>
                  <a:pt x="331656" y="90357"/>
                </a:lnTo>
                <a:lnTo>
                  <a:pt x="293145" y="128108"/>
                </a:lnTo>
                <a:lnTo>
                  <a:pt x="223221" y="202330"/>
                </a:lnTo>
                <a:lnTo>
                  <a:pt x="178900" y="254200"/>
                </a:lnTo>
                <a:lnTo>
                  <a:pt x="140673" y="301250"/>
                </a:lnTo>
                <a:lnTo>
                  <a:pt x="100218" y="355520"/>
                </a:lnTo>
                <a:lnTo>
                  <a:pt x="78147" y="387727"/>
                </a:lnTo>
                <a:lnTo>
                  <a:pt x="53785" y="428970"/>
                </a:lnTo>
                <a:lnTo>
                  <a:pt x="34272" y="470904"/>
                </a:lnTo>
                <a:lnTo>
                  <a:pt x="16075" y="528559"/>
                </a:lnTo>
                <a:lnTo>
                  <a:pt x="6915" y="565906"/>
                </a:lnTo>
                <a:lnTo>
                  <a:pt x="243" y="633782"/>
                </a:lnTo>
                <a:lnTo>
                  <a:pt x="0" y="677068"/>
                </a:lnTo>
                <a:lnTo>
                  <a:pt x="4140" y="720121"/>
                </a:lnTo>
                <a:lnTo>
                  <a:pt x="13822" y="762898"/>
                </a:lnTo>
                <a:lnTo>
                  <a:pt x="29565" y="809601"/>
                </a:lnTo>
                <a:lnTo>
                  <a:pt x="51757" y="853703"/>
                </a:lnTo>
                <a:lnTo>
                  <a:pt x="74955" y="887890"/>
                </a:lnTo>
                <a:lnTo>
                  <a:pt x="102201" y="918829"/>
                </a:lnTo>
                <a:lnTo>
                  <a:pt x="156622" y="961065"/>
                </a:lnTo>
                <a:lnTo>
                  <a:pt x="216280" y="988815"/>
                </a:lnTo>
                <a:lnTo>
                  <a:pt x="277804" y="1005064"/>
                </a:lnTo>
                <a:lnTo>
                  <a:pt x="337792" y="1012455"/>
                </a:lnTo>
                <a:lnTo>
                  <a:pt x="368342" y="1011755"/>
                </a:lnTo>
                <a:lnTo>
                  <a:pt x="406820" y="1006610"/>
                </a:lnTo>
                <a:lnTo>
                  <a:pt x="443972" y="997375"/>
                </a:lnTo>
                <a:lnTo>
                  <a:pt x="479737" y="983858"/>
                </a:lnTo>
                <a:lnTo>
                  <a:pt x="514049" y="965869"/>
                </a:lnTo>
                <a:lnTo>
                  <a:pt x="554326" y="937083"/>
                </a:lnTo>
                <a:lnTo>
                  <a:pt x="589221" y="902077"/>
                </a:lnTo>
                <a:lnTo>
                  <a:pt x="617931" y="860969"/>
                </a:lnTo>
                <a:lnTo>
                  <a:pt x="636706" y="814498"/>
                </a:lnTo>
                <a:lnTo>
                  <a:pt x="646103" y="760594"/>
                </a:lnTo>
                <a:lnTo>
                  <a:pt x="646806" y="707269"/>
                </a:lnTo>
                <a:lnTo>
                  <a:pt x="638474" y="654596"/>
                </a:lnTo>
                <a:lnTo>
                  <a:pt x="620768" y="602649"/>
                </a:lnTo>
                <a:lnTo>
                  <a:pt x="594321" y="553879"/>
                </a:lnTo>
                <a:lnTo>
                  <a:pt x="565431" y="519248"/>
                </a:lnTo>
                <a:lnTo>
                  <a:pt x="525314" y="486133"/>
                </a:lnTo>
                <a:lnTo>
                  <a:pt x="478028" y="461189"/>
                </a:lnTo>
                <a:lnTo>
                  <a:pt x="426600" y="445844"/>
                </a:lnTo>
                <a:lnTo>
                  <a:pt x="361751" y="438934"/>
                </a:lnTo>
                <a:lnTo>
                  <a:pt x="363148" y="435098"/>
                </a:lnTo>
                <a:lnTo>
                  <a:pt x="396740" y="376526"/>
                </a:lnTo>
                <a:lnTo>
                  <a:pt x="435830" y="315096"/>
                </a:lnTo>
                <a:lnTo>
                  <a:pt x="484549" y="245542"/>
                </a:lnTo>
                <a:lnTo>
                  <a:pt x="511992" y="209699"/>
                </a:lnTo>
                <a:lnTo>
                  <a:pt x="542634" y="172731"/>
                </a:lnTo>
                <a:lnTo>
                  <a:pt x="573752" y="136153"/>
                </a:lnTo>
                <a:lnTo>
                  <a:pt x="582805" y="121215"/>
                </a:lnTo>
                <a:lnTo>
                  <a:pt x="569282" y="77847"/>
                </a:lnTo>
                <a:lnTo>
                  <a:pt x="483989" y="9242"/>
                </a:lnTo>
                <a:lnTo>
                  <a:pt x="472930" y="2760"/>
                </a:lnTo>
                <a:lnTo>
                  <a:pt x="460957" y="0"/>
                </a:lnTo>
                <a:close/>
              </a:path>
            </a:pathLst>
          </a:custGeom>
          <a:solidFill>
            <a:srgbClr val="0065E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25">
            <a:extLst>
              <a:ext uri="{FF2B5EF4-FFF2-40B4-BE49-F238E27FC236}">
                <a16:creationId xmlns:a16="http://schemas.microsoft.com/office/drawing/2014/main" id="{65CE2951-A5AB-46E7-A639-290ECA37E726}"/>
              </a:ext>
            </a:extLst>
          </p:cNvPr>
          <p:cNvSpPr/>
          <p:nvPr userDrawn="1"/>
        </p:nvSpPr>
        <p:spPr>
          <a:xfrm>
            <a:off x="1400402" y="4359575"/>
            <a:ext cx="648970" cy="1012825"/>
          </a:xfrm>
          <a:custGeom>
            <a:avLst/>
            <a:gdLst/>
            <a:ahLst/>
            <a:cxnLst/>
            <a:rect l="l" t="t" r="r" b="b"/>
            <a:pathLst>
              <a:path w="648969" h="1012825">
                <a:moveTo>
                  <a:pt x="463042" y="0"/>
                </a:moveTo>
                <a:lnTo>
                  <a:pt x="385892" y="45016"/>
                </a:lnTo>
                <a:lnTo>
                  <a:pt x="347810" y="76595"/>
                </a:lnTo>
                <a:lnTo>
                  <a:pt x="309722" y="112139"/>
                </a:lnTo>
                <a:lnTo>
                  <a:pt x="273159" y="149264"/>
                </a:lnTo>
                <a:lnTo>
                  <a:pt x="233241" y="192917"/>
                </a:lnTo>
                <a:lnTo>
                  <a:pt x="185030" y="247891"/>
                </a:lnTo>
                <a:lnTo>
                  <a:pt x="128500" y="318421"/>
                </a:lnTo>
                <a:lnTo>
                  <a:pt x="99479" y="357341"/>
                </a:lnTo>
                <a:lnTo>
                  <a:pt x="71277" y="400795"/>
                </a:lnTo>
                <a:lnTo>
                  <a:pt x="52230" y="434860"/>
                </a:lnTo>
                <a:lnTo>
                  <a:pt x="30647" y="482074"/>
                </a:lnTo>
                <a:lnTo>
                  <a:pt x="12887" y="544193"/>
                </a:lnTo>
                <a:lnTo>
                  <a:pt x="1680" y="616939"/>
                </a:lnTo>
                <a:lnTo>
                  <a:pt x="0" y="658012"/>
                </a:lnTo>
                <a:lnTo>
                  <a:pt x="2431" y="699092"/>
                </a:lnTo>
                <a:lnTo>
                  <a:pt x="9558" y="740106"/>
                </a:lnTo>
                <a:lnTo>
                  <a:pt x="25322" y="796131"/>
                </a:lnTo>
                <a:lnTo>
                  <a:pt x="50058" y="848907"/>
                </a:lnTo>
                <a:lnTo>
                  <a:pt x="71855" y="882221"/>
                </a:lnTo>
                <a:lnTo>
                  <a:pt x="97442" y="912610"/>
                </a:lnTo>
                <a:lnTo>
                  <a:pt x="126068" y="938506"/>
                </a:lnTo>
                <a:lnTo>
                  <a:pt x="182149" y="974283"/>
                </a:lnTo>
                <a:lnTo>
                  <a:pt x="244698" y="996964"/>
                </a:lnTo>
                <a:lnTo>
                  <a:pt x="313648" y="1010416"/>
                </a:lnTo>
                <a:lnTo>
                  <a:pt x="348613" y="1012419"/>
                </a:lnTo>
                <a:lnTo>
                  <a:pt x="384055" y="1010248"/>
                </a:lnTo>
                <a:lnTo>
                  <a:pt x="450181" y="995543"/>
                </a:lnTo>
                <a:lnTo>
                  <a:pt x="511792" y="967817"/>
                </a:lnTo>
                <a:lnTo>
                  <a:pt x="551283" y="940473"/>
                </a:lnTo>
                <a:lnTo>
                  <a:pt x="585820" y="907213"/>
                </a:lnTo>
                <a:lnTo>
                  <a:pt x="616075" y="866235"/>
                </a:lnTo>
                <a:lnTo>
                  <a:pt x="636138" y="819494"/>
                </a:lnTo>
                <a:lnTo>
                  <a:pt x="645799" y="771003"/>
                </a:lnTo>
                <a:lnTo>
                  <a:pt x="648526" y="723129"/>
                </a:lnTo>
                <a:lnTo>
                  <a:pt x="644113" y="675923"/>
                </a:lnTo>
                <a:lnTo>
                  <a:pt x="632356" y="629436"/>
                </a:lnTo>
                <a:lnTo>
                  <a:pt x="613049" y="583718"/>
                </a:lnTo>
                <a:lnTo>
                  <a:pt x="589091" y="545021"/>
                </a:lnTo>
                <a:lnTo>
                  <a:pt x="559818" y="512370"/>
                </a:lnTo>
                <a:lnTo>
                  <a:pt x="514916" y="478783"/>
                </a:lnTo>
                <a:lnTo>
                  <a:pt x="468282" y="456846"/>
                </a:lnTo>
                <a:lnTo>
                  <a:pt x="423861" y="444944"/>
                </a:lnTo>
                <a:lnTo>
                  <a:pt x="362605" y="438850"/>
                </a:lnTo>
                <a:lnTo>
                  <a:pt x="365082" y="432931"/>
                </a:lnTo>
                <a:lnTo>
                  <a:pt x="394635" y="381788"/>
                </a:lnTo>
                <a:lnTo>
                  <a:pt x="432303" y="322111"/>
                </a:lnTo>
                <a:lnTo>
                  <a:pt x="459141" y="282779"/>
                </a:lnTo>
                <a:lnTo>
                  <a:pt x="491914" y="236289"/>
                </a:lnTo>
                <a:lnTo>
                  <a:pt x="582277" y="126163"/>
                </a:lnTo>
                <a:lnTo>
                  <a:pt x="585885" y="118800"/>
                </a:lnTo>
                <a:lnTo>
                  <a:pt x="587432" y="109229"/>
                </a:lnTo>
                <a:lnTo>
                  <a:pt x="586719" y="99679"/>
                </a:lnTo>
                <a:lnTo>
                  <a:pt x="583547" y="92381"/>
                </a:lnTo>
                <a:lnTo>
                  <a:pt x="484144" y="8624"/>
                </a:lnTo>
                <a:lnTo>
                  <a:pt x="473796" y="2629"/>
                </a:lnTo>
                <a:lnTo>
                  <a:pt x="463042" y="0"/>
                </a:lnTo>
                <a:close/>
              </a:path>
            </a:pathLst>
          </a:custGeom>
          <a:solidFill>
            <a:srgbClr val="0065E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26">
            <a:extLst>
              <a:ext uri="{FF2B5EF4-FFF2-40B4-BE49-F238E27FC236}">
                <a16:creationId xmlns:a16="http://schemas.microsoft.com/office/drawing/2014/main" id="{4FAFB4BE-E2B5-48EC-B857-732E8987C321}"/>
              </a:ext>
            </a:extLst>
          </p:cNvPr>
          <p:cNvSpPr/>
          <p:nvPr userDrawn="1"/>
        </p:nvSpPr>
        <p:spPr>
          <a:xfrm>
            <a:off x="3778089" y="4359491"/>
            <a:ext cx="647065" cy="1012825"/>
          </a:xfrm>
          <a:custGeom>
            <a:avLst/>
            <a:gdLst/>
            <a:ahLst/>
            <a:cxnLst/>
            <a:rect l="l" t="t" r="r" b="b"/>
            <a:pathLst>
              <a:path w="647064" h="1012825">
                <a:moveTo>
                  <a:pt x="460957" y="0"/>
                </a:moveTo>
                <a:lnTo>
                  <a:pt x="411219" y="24117"/>
                </a:lnTo>
                <a:lnTo>
                  <a:pt x="367680" y="58604"/>
                </a:lnTo>
                <a:lnTo>
                  <a:pt x="331656" y="90357"/>
                </a:lnTo>
                <a:lnTo>
                  <a:pt x="293145" y="128108"/>
                </a:lnTo>
                <a:lnTo>
                  <a:pt x="223221" y="202330"/>
                </a:lnTo>
                <a:lnTo>
                  <a:pt x="178900" y="254200"/>
                </a:lnTo>
                <a:lnTo>
                  <a:pt x="140673" y="301250"/>
                </a:lnTo>
                <a:lnTo>
                  <a:pt x="100218" y="355520"/>
                </a:lnTo>
                <a:lnTo>
                  <a:pt x="78147" y="387727"/>
                </a:lnTo>
                <a:lnTo>
                  <a:pt x="53785" y="428970"/>
                </a:lnTo>
                <a:lnTo>
                  <a:pt x="34272" y="470904"/>
                </a:lnTo>
                <a:lnTo>
                  <a:pt x="16075" y="528559"/>
                </a:lnTo>
                <a:lnTo>
                  <a:pt x="6915" y="565906"/>
                </a:lnTo>
                <a:lnTo>
                  <a:pt x="243" y="633782"/>
                </a:lnTo>
                <a:lnTo>
                  <a:pt x="0" y="677068"/>
                </a:lnTo>
                <a:lnTo>
                  <a:pt x="4140" y="720121"/>
                </a:lnTo>
                <a:lnTo>
                  <a:pt x="13822" y="762898"/>
                </a:lnTo>
                <a:lnTo>
                  <a:pt x="29565" y="809601"/>
                </a:lnTo>
                <a:lnTo>
                  <a:pt x="51757" y="853703"/>
                </a:lnTo>
                <a:lnTo>
                  <a:pt x="74955" y="887890"/>
                </a:lnTo>
                <a:lnTo>
                  <a:pt x="102201" y="918829"/>
                </a:lnTo>
                <a:lnTo>
                  <a:pt x="156622" y="961065"/>
                </a:lnTo>
                <a:lnTo>
                  <a:pt x="216280" y="988815"/>
                </a:lnTo>
                <a:lnTo>
                  <a:pt x="277804" y="1005064"/>
                </a:lnTo>
                <a:lnTo>
                  <a:pt x="337792" y="1012455"/>
                </a:lnTo>
                <a:lnTo>
                  <a:pt x="368342" y="1011755"/>
                </a:lnTo>
                <a:lnTo>
                  <a:pt x="406820" y="1006610"/>
                </a:lnTo>
                <a:lnTo>
                  <a:pt x="443972" y="997375"/>
                </a:lnTo>
                <a:lnTo>
                  <a:pt x="479737" y="983858"/>
                </a:lnTo>
                <a:lnTo>
                  <a:pt x="514049" y="965869"/>
                </a:lnTo>
                <a:lnTo>
                  <a:pt x="554326" y="937083"/>
                </a:lnTo>
                <a:lnTo>
                  <a:pt x="589221" y="902077"/>
                </a:lnTo>
                <a:lnTo>
                  <a:pt x="617931" y="860969"/>
                </a:lnTo>
                <a:lnTo>
                  <a:pt x="636706" y="814498"/>
                </a:lnTo>
                <a:lnTo>
                  <a:pt x="646103" y="760594"/>
                </a:lnTo>
                <a:lnTo>
                  <a:pt x="646806" y="707269"/>
                </a:lnTo>
                <a:lnTo>
                  <a:pt x="638474" y="654596"/>
                </a:lnTo>
                <a:lnTo>
                  <a:pt x="620768" y="602649"/>
                </a:lnTo>
                <a:lnTo>
                  <a:pt x="594321" y="553879"/>
                </a:lnTo>
                <a:lnTo>
                  <a:pt x="565431" y="519248"/>
                </a:lnTo>
                <a:lnTo>
                  <a:pt x="525314" y="486133"/>
                </a:lnTo>
                <a:lnTo>
                  <a:pt x="478028" y="461189"/>
                </a:lnTo>
                <a:lnTo>
                  <a:pt x="426600" y="445844"/>
                </a:lnTo>
                <a:lnTo>
                  <a:pt x="361751" y="438934"/>
                </a:lnTo>
                <a:lnTo>
                  <a:pt x="363148" y="435098"/>
                </a:lnTo>
                <a:lnTo>
                  <a:pt x="396740" y="376526"/>
                </a:lnTo>
                <a:lnTo>
                  <a:pt x="435830" y="315096"/>
                </a:lnTo>
                <a:lnTo>
                  <a:pt x="484549" y="245542"/>
                </a:lnTo>
                <a:lnTo>
                  <a:pt x="511992" y="209699"/>
                </a:lnTo>
                <a:lnTo>
                  <a:pt x="542634" y="172731"/>
                </a:lnTo>
                <a:lnTo>
                  <a:pt x="573752" y="136153"/>
                </a:lnTo>
                <a:lnTo>
                  <a:pt x="582805" y="121215"/>
                </a:lnTo>
                <a:lnTo>
                  <a:pt x="569282" y="77847"/>
                </a:lnTo>
                <a:lnTo>
                  <a:pt x="483989" y="9242"/>
                </a:lnTo>
                <a:lnTo>
                  <a:pt x="472930" y="2760"/>
                </a:lnTo>
                <a:lnTo>
                  <a:pt x="460957" y="0"/>
                </a:lnTo>
                <a:close/>
              </a:path>
            </a:pathLst>
          </a:custGeom>
          <a:solidFill>
            <a:srgbClr val="4FE3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27">
            <a:extLst>
              <a:ext uri="{FF2B5EF4-FFF2-40B4-BE49-F238E27FC236}">
                <a16:creationId xmlns:a16="http://schemas.microsoft.com/office/drawing/2014/main" id="{E52AC716-42B1-4531-9F5A-B42B29DB6728}"/>
              </a:ext>
            </a:extLst>
          </p:cNvPr>
          <p:cNvSpPr/>
          <p:nvPr userDrawn="1"/>
        </p:nvSpPr>
        <p:spPr>
          <a:xfrm>
            <a:off x="4547870" y="4359575"/>
            <a:ext cx="648970" cy="1012825"/>
          </a:xfrm>
          <a:custGeom>
            <a:avLst/>
            <a:gdLst/>
            <a:ahLst/>
            <a:cxnLst/>
            <a:rect l="l" t="t" r="r" b="b"/>
            <a:pathLst>
              <a:path w="648970" h="1012825">
                <a:moveTo>
                  <a:pt x="463042" y="0"/>
                </a:moveTo>
                <a:lnTo>
                  <a:pt x="385892" y="45016"/>
                </a:lnTo>
                <a:lnTo>
                  <a:pt x="347810" y="76595"/>
                </a:lnTo>
                <a:lnTo>
                  <a:pt x="309722" y="112139"/>
                </a:lnTo>
                <a:lnTo>
                  <a:pt x="273159" y="149264"/>
                </a:lnTo>
                <a:lnTo>
                  <a:pt x="233241" y="192917"/>
                </a:lnTo>
                <a:lnTo>
                  <a:pt x="185030" y="247891"/>
                </a:lnTo>
                <a:lnTo>
                  <a:pt x="128500" y="318421"/>
                </a:lnTo>
                <a:lnTo>
                  <a:pt x="99479" y="357341"/>
                </a:lnTo>
                <a:lnTo>
                  <a:pt x="71277" y="400795"/>
                </a:lnTo>
                <a:lnTo>
                  <a:pt x="52230" y="434860"/>
                </a:lnTo>
                <a:lnTo>
                  <a:pt x="30647" y="482074"/>
                </a:lnTo>
                <a:lnTo>
                  <a:pt x="12887" y="544193"/>
                </a:lnTo>
                <a:lnTo>
                  <a:pt x="1680" y="616939"/>
                </a:lnTo>
                <a:lnTo>
                  <a:pt x="0" y="658012"/>
                </a:lnTo>
                <a:lnTo>
                  <a:pt x="2431" y="699092"/>
                </a:lnTo>
                <a:lnTo>
                  <a:pt x="9558" y="740106"/>
                </a:lnTo>
                <a:lnTo>
                  <a:pt x="25322" y="796131"/>
                </a:lnTo>
                <a:lnTo>
                  <a:pt x="50058" y="848907"/>
                </a:lnTo>
                <a:lnTo>
                  <a:pt x="71855" y="882221"/>
                </a:lnTo>
                <a:lnTo>
                  <a:pt x="97442" y="912610"/>
                </a:lnTo>
                <a:lnTo>
                  <a:pt x="126068" y="938506"/>
                </a:lnTo>
                <a:lnTo>
                  <a:pt x="182149" y="974283"/>
                </a:lnTo>
                <a:lnTo>
                  <a:pt x="244698" y="996964"/>
                </a:lnTo>
                <a:lnTo>
                  <a:pt x="313648" y="1010416"/>
                </a:lnTo>
                <a:lnTo>
                  <a:pt x="348613" y="1012419"/>
                </a:lnTo>
                <a:lnTo>
                  <a:pt x="384055" y="1010248"/>
                </a:lnTo>
                <a:lnTo>
                  <a:pt x="450181" y="995543"/>
                </a:lnTo>
                <a:lnTo>
                  <a:pt x="511792" y="967817"/>
                </a:lnTo>
                <a:lnTo>
                  <a:pt x="551283" y="940473"/>
                </a:lnTo>
                <a:lnTo>
                  <a:pt x="585820" y="907213"/>
                </a:lnTo>
                <a:lnTo>
                  <a:pt x="616075" y="866235"/>
                </a:lnTo>
                <a:lnTo>
                  <a:pt x="636138" y="819494"/>
                </a:lnTo>
                <a:lnTo>
                  <a:pt x="645799" y="771003"/>
                </a:lnTo>
                <a:lnTo>
                  <a:pt x="648526" y="723129"/>
                </a:lnTo>
                <a:lnTo>
                  <a:pt x="644113" y="675923"/>
                </a:lnTo>
                <a:lnTo>
                  <a:pt x="632356" y="629436"/>
                </a:lnTo>
                <a:lnTo>
                  <a:pt x="613049" y="583718"/>
                </a:lnTo>
                <a:lnTo>
                  <a:pt x="589091" y="545021"/>
                </a:lnTo>
                <a:lnTo>
                  <a:pt x="559818" y="512370"/>
                </a:lnTo>
                <a:lnTo>
                  <a:pt x="514916" y="478783"/>
                </a:lnTo>
                <a:lnTo>
                  <a:pt x="468282" y="456846"/>
                </a:lnTo>
                <a:lnTo>
                  <a:pt x="423861" y="444944"/>
                </a:lnTo>
                <a:lnTo>
                  <a:pt x="362605" y="438850"/>
                </a:lnTo>
                <a:lnTo>
                  <a:pt x="365082" y="432931"/>
                </a:lnTo>
                <a:lnTo>
                  <a:pt x="394635" y="381788"/>
                </a:lnTo>
                <a:lnTo>
                  <a:pt x="432303" y="322111"/>
                </a:lnTo>
                <a:lnTo>
                  <a:pt x="459141" y="282779"/>
                </a:lnTo>
                <a:lnTo>
                  <a:pt x="491914" y="236289"/>
                </a:lnTo>
                <a:lnTo>
                  <a:pt x="582277" y="126163"/>
                </a:lnTo>
                <a:lnTo>
                  <a:pt x="585885" y="118800"/>
                </a:lnTo>
                <a:lnTo>
                  <a:pt x="587432" y="109229"/>
                </a:lnTo>
                <a:lnTo>
                  <a:pt x="586719" y="99679"/>
                </a:lnTo>
                <a:lnTo>
                  <a:pt x="583547" y="92381"/>
                </a:lnTo>
                <a:lnTo>
                  <a:pt x="484144" y="8624"/>
                </a:lnTo>
                <a:lnTo>
                  <a:pt x="473796" y="2629"/>
                </a:lnTo>
                <a:lnTo>
                  <a:pt x="463042" y="0"/>
                </a:lnTo>
                <a:close/>
              </a:path>
            </a:pathLst>
          </a:custGeom>
          <a:solidFill>
            <a:srgbClr val="4FE3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30">
            <a:extLst>
              <a:ext uri="{FF2B5EF4-FFF2-40B4-BE49-F238E27FC236}">
                <a16:creationId xmlns:a16="http://schemas.microsoft.com/office/drawing/2014/main" id="{D7E707B9-6389-48FD-BA1F-24E778114692}"/>
              </a:ext>
            </a:extLst>
          </p:cNvPr>
          <p:cNvSpPr/>
          <p:nvPr userDrawn="1"/>
        </p:nvSpPr>
        <p:spPr>
          <a:xfrm>
            <a:off x="3778089" y="2668833"/>
            <a:ext cx="647065" cy="1012825"/>
          </a:xfrm>
          <a:custGeom>
            <a:avLst/>
            <a:gdLst/>
            <a:ahLst/>
            <a:cxnLst/>
            <a:rect l="l" t="t" r="r" b="b"/>
            <a:pathLst>
              <a:path w="647064" h="1012825">
                <a:moveTo>
                  <a:pt x="460957" y="0"/>
                </a:moveTo>
                <a:lnTo>
                  <a:pt x="411219" y="24117"/>
                </a:lnTo>
                <a:lnTo>
                  <a:pt x="367680" y="58604"/>
                </a:lnTo>
                <a:lnTo>
                  <a:pt x="331656" y="90357"/>
                </a:lnTo>
                <a:lnTo>
                  <a:pt x="293145" y="128108"/>
                </a:lnTo>
                <a:lnTo>
                  <a:pt x="223221" y="202330"/>
                </a:lnTo>
                <a:lnTo>
                  <a:pt x="178900" y="254200"/>
                </a:lnTo>
                <a:lnTo>
                  <a:pt x="140673" y="301250"/>
                </a:lnTo>
                <a:lnTo>
                  <a:pt x="100218" y="355520"/>
                </a:lnTo>
                <a:lnTo>
                  <a:pt x="78147" y="387727"/>
                </a:lnTo>
                <a:lnTo>
                  <a:pt x="53785" y="428970"/>
                </a:lnTo>
                <a:lnTo>
                  <a:pt x="34272" y="470904"/>
                </a:lnTo>
                <a:lnTo>
                  <a:pt x="16075" y="528559"/>
                </a:lnTo>
                <a:lnTo>
                  <a:pt x="6915" y="565906"/>
                </a:lnTo>
                <a:lnTo>
                  <a:pt x="243" y="633782"/>
                </a:lnTo>
                <a:lnTo>
                  <a:pt x="0" y="677068"/>
                </a:lnTo>
                <a:lnTo>
                  <a:pt x="4140" y="720121"/>
                </a:lnTo>
                <a:lnTo>
                  <a:pt x="13822" y="762898"/>
                </a:lnTo>
                <a:lnTo>
                  <a:pt x="29565" y="809601"/>
                </a:lnTo>
                <a:lnTo>
                  <a:pt x="51757" y="853703"/>
                </a:lnTo>
                <a:lnTo>
                  <a:pt x="74955" y="887890"/>
                </a:lnTo>
                <a:lnTo>
                  <a:pt x="102201" y="918829"/>
                </a:lnTo>
                <a:lnTo>
                  <a:pt x="156622" y="961065"/>
                </a:lnTo>
                <a:lnTo>
                  <a:pt x="216280" y="988815"/>
                </a:lnTo>
                <a:lnTo>
                  <a:pt x="277804" y="1005064"/>
                </a:lnTo>
                <a:lnTo>
                  <a:pt x="337792" y="1012455"/>
                </a:lnTo>
                <a:lnTo>
                  <a:pt x="368342" y="1011755"/>
                </a:lnTo>
                <a:lnTo>
                  <a:pt x="406820" y="1006610"/>
                </a:lnTo>
                <a:lnTo>
                  <a:pt x="443972" y="997375"/>
                </a:lnTo>
                <a:lnTo>
                  <a:pt x="479737" y="983858"/>
                </a:lnTo>
                <a:lnTo>
                  <a:pt x="514049" y="965869"/>
                </a:lnTo>
                <a:lnTo>
                  <a:pt x="554326" y="937083"/>
                </a:lnTo>
                <a:lnTo>
                  <a:pt x="589221" y="902077"/>
                </a:lnTo>
                <a:lnTo>
                  <a:pt x="617931" y="860969"/>
                </a:lnTo>
                <a:lnTo>
                  <a:pt x="636706" y="814498"/>
                </a:lnTo>
                <a:lnTo>
                  <a:pt x="646103" y="760594"/>
                </a:lnTo>
                <a:lnTo>
                  <a:pt x="646806" y="707269"/>
                </a:lnTo>
                <a:lnTo>
                  <a:pt x="638474" y="654596"/>
                </a:lnTo>
                <a:lnTo>
                  <a:pt x="620768" y="602649"/>
                </a:lnTo>
                <a:lnTo>
                  <a:pt x="594321" y="553879"/>
                </a:lnTo>
                <a:lnTo>
                  <a:pt x="565431" y="519248"/>
                </a:lnTo>
                <a:lnTo>
                  <a:pt x="525314" y="486133"/>
                </a:lnTo>
                <a:lnTo>
                  <a:pt x="478028" y="461189"/>
                </a:lnTo>
                <a:lnTo>
                  <a:pt x="426600" y="445844"/>
                </a:lnTo>
                <a:lnTo>
                  <a:pt x="361751" y="438934"/>
                </a:lnTo>
                <a:lnTo>
                  <a:pt x="363148" y="435098"/>
                </a:lnTo>
                <a:lnTo>
                  <a:pt x="396740" y="376526"/>
                </a:lnTo>
                <a:lnTo>
                  <a:pt x="435830" y="315096"/>
                </a:lnTo>
                <a:lnTo>
                  <a:pt x="484549" y="245542"/>
                </a:lnTo>
                <a:lnTo>
                  <a:pt x="511992" y="209699"/>
                </a:lnTo>
                <a:lnTo>
                  <a:pt x="542634" y="172731"/>
                </a:lnTo>
                <a:lnTo>
                  <a:pt x="573752" y="136153"/>
                </a:lnTo>
                <a:lnTo>
                  <a:pt x="582805" y="121215"/>
                </a:lnTo>
                <a:lnTo>
                  <a:pt x="569282" y="77847"/>
                </a:lnTo>
                <a:lnTo>
                  <a:pt x="483989" y="9242"/>
                </a:lnTo>
                <a:lnTo>
                  <a:pt x="472930" y="2760"/>
                </a:lnTo>
                <a:lnTo>
                  <a:pt x="460957" y="0"/>
                </a:lnTo>
                <a:close/>
              </a:path>
            </a:pathLst>
          </a:custGeom>
          <a:solidFill>
            <a:srgbClr val="93D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31">
            <a:extLst>
              <a:ext uri="{FF2B5EF4-FFF2-40B4-BE49-F238E27FC236}">
                <a16:creationId xmlns:a16="http://schemas.microsoft.com/office/drawing/2014/main" id="{E8929C92-58E8-4D85-ACD6-0D74229D4FA2}"/>
              </a:ext>
            </a:extLst>
          </p:cNvPr>
          <p:cNvSpPr/>
          <p:nvPr userDrawn="1"/>
        </p:nvSpPr>
        <p:spPr>
          <a:xfrm>
            <a:off x="4547870" y="2668917"/>
            <a:ext cx="648970" cy="1012825"/>
          </a:xfrm>
          <a:custGeom>
            <a:avLst/>
            <a:gdLst/>
            <a:ahLst/>
            <a:cxnLst/>
            <a:rect l="l" t="t" r="r" b="b"/>
            <a:pathLst>
              <a:path w="648970" h="1012825">
                <a:moveTo>
                  <a:pt x="463042" y="0"/>
                </a:moveTo>
                <a:lnTo>
                  <a:pt x="385892" y="45016"/>
                </a:lnTo>
                <a:lnTo>
                  <a:pt x="347810" y="76595"/>
                </a:lnTo>
                <a:lnTo>
                  <a:pt x="309722" y="112139"/>
                </a:lnTo>
                <a:lnTo>
                  <a:pt x="273159" y="149264"/>
                </a:lnTo>
                <a:lnTo>
                  <a:pt x="233241" y="192917"/>
                </a:lnTo>
                <a:lnTo>
                  <a:pt x="185030" y="247891"/>
                </a:lnTo>
                <a:lnTo>
                  <a:pt x="128500" y="318421"/>
                </a:lnTo>
                <a:lnTo>
                  <a:pt x="99479" y="357341"/>
                </a:lnTo>
                <a:lnTo>
                  <a:pt x="71277" y="400795"/>
                </a:lnTo>
                <a:lnTo>
                  <a:pt x="52230" y="434860"/>
                </a:lnTo>
                <a:lnTo>
                  <a:pt x="30647" y="482074"/>
                </a:lnTo>
                <a:lnTo>
                  <a:pt x="12887" y="544193"/>
                </a:lnTo>
                <a:lnTo>
                  <a:pt x="1680" y="616939"/>
                </a:lnTo>
                <a:lnTo>
                  <a:pt x="0" y="658012"/>
                </a:lnTo>
                <a:lnTo>
                  <a:pt x="2431" y="699092"/>
                </a:lnTo>
                <a:lnTo>
                  <a:pt x="9558" y="740106"/>
                </a:lnTo>
                <a:lnTo>
                  <a:pt x="25322" y="796131"/>
                </a:lnTo>
                <a:lnTo>
                  <a:pt x="50058" y="848907"/>
                </a:lnTo>
                <a:lnTo>
                  <a:pt x="71855" y="882221"/>
                </a:lnTo>
                <a:lnTo>
                  <a:pt x="97442" y="912610"/>
                </a:lnTo>
                <a:lnTo>
                  <a:pt x="126068" y="938506"/>
                </a:lnTo>
                <a:lnTo>
                  <a:pt x="182149" y="974283"/>
                </a:lnTo>
                <a:lnTo>
                  <a:pt x="244698" y="996964"/>
                </a:lnTo>
                <a:lnTo>
                  <a:pt x="313648" y="1010416"/>
                </a:lnTo>
                <a:lnTo>
                  <a:pt x="348613" y="1012419"/>
                </a:lnTo>
                <a:lnTo>
                  <a:pt x="384055" y="1010248"/>
                </a:lnTo>
                <a:lnTo>
                  <a:pt x="450181" y="995543"/>
                </a:lnTo>
                <a:lnTo>
                  <a:pt x="511792" y="967817"/>
                </a:lnTo>
                <a:lnTo>
                  <a:pt x="551283" y="940473"/>
                </a:lnTo>
                <a:lnTo>
                  <a:pt x="585820" y="907213"/>
                </a:lnTo>
                <a:lnTo>
                  <a:pt x="616075" y="866235"/>
                </a:lnTo>
                <a:lnTo>
                  <a:pt x="636138" y="819494"/>
                </a:lnTo>
                <a:lnTo>
                  <a:pt x="645799" y="771003"/>
                </a:lnTo>
                <a:lnTo>
                  <a:pt x="648526" y="723129"/>
                </a:lnTo>
                <a:lnTo>
                  <a:pt x="644113" y="675923"/>
                </a:lnTo>
                <a:lnTo>
                  <a:pt x="632356" y="629436"/>
                </a:lnTo>
                <a:lnTo>
                  <a:pt x="613049" y="583718"/>
                </a:lnTo>
                <a:lnTo>
                  <a:pt x="589091" y="545021"/>
                </a:lnTo>
                <a:lnTo>
                  <a:pt x="559818" y="512370"/>
                </a:lnTo>
                <a:lnTo>
                  <a:pt x="514916" y="478783"/>
                </a:lnTo>
                <a:lnTo>
                  <a:pt x="468282" y="456846"/>
                </a:lnTo>
                <a:lnTo>
                  <a:pt x="423861" y="444944"/>
                </a:lnTo>
                <a:lnTo>
                  <a:pt x="362605" y="438850"/>
                </a:lnTo>
                <a:lnTo>
                  <a:pt x="365082" y="432931"/>
                </a:lnTo>
                <a:lnTo>
                  <a:pt x="394635" y="381788"/>
                </a:lnTo>
                <a:lnTo>
                  <a:pt x="432303" y="322111"/>
                </a:lnTo>
                <a:lnTo>
                  <a:pt x="459141" y="282779"/>
                </a:lnTo>
                <a:lnTo>
                  <a:pt x="491914" y="236289"/>
                </a:lnTo>
                <a:lnTo>
                  <a:pt x="582277" y="126163"/>
                </a:lnTo>
                <a:lnTo>
                  <a:pt x="585885" y="118800"/>
                </a:lnTo>
                <a:lnTo>
                  <a:pt x="587432" y="109229"/>
                </a:lnTo>
                <a:lnTo>
                  <a:pt x="586719" y="99679"/>
                </a:lnTo>
                <a:lnTo>
                  <a:pt x="583547" y="92381"/>
                </a:lnTo>
                <a:lnTo>
                  <a:pt x="484144" y="8624"/>
                </a:lnTo>
                <a:lnTo>
                  <a:pt x="473796" y="2629"/>
                </a:lnTo>
                <a:lnTo>
                  <a:pt x="463042" y="0"/>
                </a:lnTo>
                <a:close/>
              </a:path>
            </a:pathLst>
          </a:custGeom>
          <a:solidFill>
            <a:srgbClr val="93D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32">
            <a:extLst>
              <a:ext uri="{FF2B5EF4-FFF2-40B4-BE49-F238E27FC236}">
                <a16:creationId xmlns:a16="http://schemas.microsoft.com/office/drawing/2014/main" id="{1015C475-8671-4C60-A604-61D6492544EC}"/>
              </a:ext>
            </a:extLst>
          </p:cNvPr>
          <p:cNvSpPr/>
          <p:nvPr userDrawn="1"/>
        </p:nvSpPr>
        <p:spPr>
          <a:xfrm>
            <a:off x="8463008" y="1901922"/>
            <a:ext cx="1280160" cy="1001394"/>
          </a:xfrm>
          <a:custGeom>
            <a:avLst/>
            <a:gdLst/>
            <a:ahLst/>
            <a:cxnLst/>
            <a:rect l="l" t="t" r="r" b="b"/>
            <a:pathLst>
              <a:path w="1280159" h="1001394">
                <a:moveTo>
                  <a:pt x="1018463" y="0"/>
                </a:moveTo>
                <a:lnTo>
                  <a:pt x="261429" y="215"/>
                </a:lnTo>
                <a:lnTo>
                  <a:pt x="223306" y="3207"/>
                </a:lnTo>
                <a:lnTo>
                  <a:pt x="166014" y="18907"/>
                </a:lnTo>
                <a:lnTo>
                  <a:pt x="125375" y="39200"/>
                </a:lnTo>
                <a:lnTo>
                  <a:pt x="89442" y="65656"/>
                </a:lnTo>
                <a:lnTo>
                  <a:pt x="58778" y="97566"/>
                </a:lnTo>
                <a:lnTo>
                  <a:pt x="33947" y="134221"/>
                </a:lnTo>
                <a:lnTo>
                  <a:pt x="15513" y="174912"/>
                </a:lnTo>
                <a:lnTo>
                  <a:pt x="4038" y="218932"/>
                </a:lnTo>
                <a:lnTo>
                  <a:pt x="88" y="265569"/>
                </a:lnTo>
                <a:lnTo>
                  <a:pt x="0" y="978458"/>
                </a:lnTo>
                <a:lnTo>
                  <a:pt x="622" y="989279"/>
                </a:lnTo>
                <a:lnTo>
                  <a:pt x="5956" y="995972"/>
                </a:lnTo>
                <a:lnTo>
                  <a:pt x="22783" y="1001318"/>
                </a:lnTo>
                <a:lnTo>
                  <a:pt x="29362" y="998042"/>
                </a:lnTo>
                <a:lnTo>
                  <a:pt x="243192" y="809929"/>
                </a:lnTo>
                <a:lnTo>
                  <a:pt x="246875" y="808431"/>
                </a:lnTo>
                <a:lnTo>
                  <a:pt x="644029" y="808545"/>
                </a:lnTo>
                <a:lnTo>
                  <a:pt x="1012075" y="808329"/>
                </a:lnTo>
                <a:lnTo>
                  <a:pt x="1053475" y="805593"/>
                </a:lnTo>
                <a:lnTo>
                  <a:pt x="1111667" y="790663"/>
                </a:lnTo>
                <a:lnTo>
                  <a:pt x="1152409" y="770761"/>
                </a:lnTo>
                <a:lnTo>
                  <a:pt x="1188659" y="744468"/>
                </a:lnTo>
                <a:lnTo>
                  <a:pt x="1219769" y="712581"/>
                </a:lnTo>
                <a:lnTo>
                  <a:pt x="1245096" y="675896"/>
                </a:lnTo>
                <a:lnTo>
                  <a:pt x="1263991" y="635212"/>
                </a:lnTo>
                <a:lnTo>
                  <a:pt x="1275810" y="591325"/>
                </a:lnTo>
                <a:lnTo>
                  <a:pt x="1279906" y="545033"/>
                </a:lnTo>
                <a:lnTo>
                  <a:pt x="1279931" y="264858"/>
                </a:lnTo>
                <a:lnTo>
                  <a:pt x="1278979" y="242183"/>
                </a:lnTo>
                <a:lnTo>
                  <a:pt x="1271457" y="197810"/>
                </a:lnTo>
                <a:lnTo>
                  <a:pt x="1245876" y="133614"/>
                </a:lnTo>
                <a:lnTo>
                  <a:pt x="1219758" y="95712"/>
                </a:lnTo>
                <a:lnTo>
                  <a:pt x="1187613" y="63130"/>
                </a:lnTo>
                <a:lnTo>
                  <a:pt x="1150426" y="36569"/>
                </a:lnTo>
                <a:lnTo>
                  <a:pt x="1109183" y="16726"/>
                </a:lnTo>
                <a:lnTo>
                  <a:pt x="1064867" y="4303"/>
                </a:lnTo>
                <a:lnTo>
                  <a:pt x="1018463" y="0"/>
                </a:lnTo>
                <a:close/>
              </a:path>
            </a:pathLst>
          </a:custGeom>
          <a:solidFill>
            <a:srgbClr val="00A65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33">
            <a:extLst>
              <a:ext uri="{FF2B5EF4-FFF2-40B4-BE49-F238E27FC236}">
                <a16:creationId xmlns:a16="http://schemas.microsoft.com/office/drawing/2014/main" id="{FF2F6D0E-5F20-4130-A889-312B6BE20765}"/>
              </a:ext>
            </a:extLst>
          </p:cNvPr>
          <p:cNvSpPr/>
          <p:nvPr userDrawn="1"/>
        </p:nvSpPr>
        <p:spPr>
          <a:xfrm>
            <a:off x="10077683" y="1901922"/>
            <a:ext cx="1280160" cy="1001394"/>
          </a:xfrm>
          <a:custGeom>
            <a:avLst/>
            <a:gdLst/>
            <a:ahLst/>
            <a:cxnLst/>
            <a:rect l="l" t="t" r="r" b="b"/>
            <a:pathLst>
              <a:path w="1280159" h="1001394">
                <a:moveTo>
                  <a:pt x="1018463" y="0"/>
                </a:moveTo>
                <a:lnTo>
                  <a:pt x="261429" y="215"/>
                </a:lnTo>
                <a:lnTo>
                  <a:pt x="223306" y="3207"/>
                </a:lnTo>
                <a:lnTo>
                  <a:pt x="166014" y="18907"/>
                </a:lnTo>
                <a:lnTo>
                  <a:pt x="125375" y="39200"/>
                </a:lnTo>
                <a:lnTo>
                  <a:pt x="89442" y="65656"/>
                </a:lnTo>
                <a:lnTo>
                  <a:pt x="58778" y="97566"/>
                </a:lnTo>
                <a:lnTo>
                  <a:pt x="33947" y="134221"/>
                </a:lnTo>
                <a:lnTo>
                  <a:pt x="15513" y="174912"/>
                </a:lnTo>
                <a:lnTo>
                  <a:pt x="4038" y="218932"/>
                </a:lnTo>
                <a:lnTo>
                  <a:pt x="88" y="265569"/>
                </a:lnTo>
                <a:lnTo>
                  <a:pt x="0" y="978458"/>
                </a:lnTo>
                <a:lnTo>
                  <a:pt x="622" y="989279"/>
                </a:lnTo>
                <a:lnTo>
                  <a:pt x="5956" y="995972"/>
                </a:lnTo>
                <a:lnTo>
                  <a:pt x="22783" y="1001318"/>
                </a:lnTo>
                <a:lnTo>
                  <a:pt x="29362" y="998042"/>
                </a:lnTo>
                <a:lnTo>
                  <a:pt x="243192" y="809929"/>
                </a:lnTo>
                <a:lnTo>
                  <a:pt x="246875" y="808431"/>
                </a:lnTo>
                <a:lnTo>
                  <a:pt x="644029" y="808545"/>
                </a:lnTo>
                <a:lnTo>
                  <a:pt x="1012075" y="808329"/>
                </a:lnTo>
                <a:lnTo>
                  <a:pt x="1053475" y="805593"/>
                </a:lnTo>
                <a:lnTo>
                  <a:pt x="1111667" y="790663"/>
                </a:lnTo>
                <a:lnTo>
                  <a:pt x="1152409" y="770761"/>
                </a:lnTo>
                <a:lnTo>
                  <a:pt x="1188659" y="744468"/>
                </a:lnTo>
                <a:lnTo>
                  <a:pt x="1219769" y="712581"/>
                </a:lnTo>
                <a:lnTo>
                  <a:pt x="1245096" y="675896"/>
                </a:lnTo>
                <a:lnTo>
                  <a:pt x="1263991" y="635212"/>
                </a:lnTo>
                <a:lnTo>
                  <a:pt x="1275810" y="591325"/>
                </a:lnTo>
                <a:lnTo>
                  <a:pt x="1279906" y="545033"/>
                </a:lnTo>
                <a:lnTo>
                  <a:pt x="1279931" y="264858"/>
                </a:lnTo>
                <a:lnTo>
                  <a:pt x="1278979" y="242183"/>
                </a:lnTo>
                <a:lnTo>
                  <a:pt x="1271457" y="197810"/>
                </a:lnTo>
                <a:lnTo>
                  <a:pt x="1245876" y="133614"/>
                </a:lnTo>
                <a:lnTo>
                  <a:pt x="1219758" y="95712"/>
                </a:lnTo>
                <a:lnTo>
                  <a:pt x="1187613" y="63130"/>
                </a:lnTo>
                <a:lnTo>
                  <a:pt x="1150426" y="36569"/>
                </a:lnTo>
                <a:lnTo>
                  <a:pt x="1109183" y="16726"/>
                </a:lnTo>
                <a:lnTo>
                  <a:pt x="1064867" y="4303"/>
                </a:lnTo>
                <a:lnTo>
                  <a:pt x="1018463" y="0"/>
                </a:lnTo>
                <a:close/>
              </a:path>
            </a:pathLst>
          </a:custGeom>
          <a:solidFill>
            <a:srgbClr val="93D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34">
            <a:extLst>
              <a:ext uri="{FF2B5EF4-FFF2-40B4-BE49-F238E27FC236}">
                <a16:creationId xmlns:a16="http://schemas.microsoft.com/office/drawing/2014/main" id="{BDAF8A21-B509-42B3-8246-D06BAFA7298A}"/>
              </a:ext>
            </a:extLst>
          </p:cNvPr>
          <p:cNvSpPr/>
          <p:nvPr userDrawn="1"/>
        </p:nvSpPr>
        <p:spPr>
          <a:xfrm>
            <a:off x="8471206" y="3038314"/>
            <a:ext cx="1280160" cy="1001394"/>
          </a:xfrm>
          <a:custGeom>
            <a:avLst/>
            <a:gdLst/>
            <a:ahLst/>
            <a:cxnLst/>
            <a:rect l="l" t="t" r="r" b="b"/>
            <a:pathLst>
              <a:path w="1280159" h="1001395">
                <a:moveTo>
                  <a:pt x="1018463" y="0"/>
                </a:moveTo>
                <a:lnTo>
                  <a:pt x="261429" y="215"/>
                </a:lnTo>
                <a:lnTo>
                  <a:pt x="223306" y="3207"/>
                </a:lnTo>
                <a:lnTo>
                  <a:pt x="166014" y="18907"/>
                </a:lnTo>
                <a:lnTo>
                  <a:pt x="125375" y="39200"/>
                </a:lnTo>
                <a:lnTo>
                  <a:pt x="89442" y="65656"/>
                </a:lnTo>
                <a:lnTo>
                  <a:pt x="58778" y="97566"/>
                </a:lnTo>
                <a:lnTo>
                  <a:pt x="33947" y="134221"/>
                </a:lnTo>
                <a:lnTo>
                  <a:pt x="15513" y="174912"/>
                </a:lnTo>
                <a:lnTo>
                  <a:pt x="4038" y="218932"/>
                </a:lnTo>
                <a:lnTo>
                  <a:pt x="88" y="265569"/>
                </a:lnTo>
                <a:lnTo>
                  <a:pt x="0" y="978458"/>
                </a:lnTo>
                <a:lnTo>
                  <a:pt x="622" y="989279"/>
                </a:lnTo>
                <a:lnTo>
                  <a:pt x="5956" y="995972"/>
                </a:lnTo>
                <a:lnTo>
                  <a:pt x="22783" y="1001318"/>
                </a:lnTo>
                <a:lnTo>
                  <a:pt x="29362" y="998042"/>
                </a:lnTo>
                <a:lnTo>
                  <a:pt x="243192" y="809929"/>
                </a:lnTo>
                <a:lnTo>
                  <a:pt x="246875" y="808431"/>
                </a:lnTo>
                <a:lnTo>
                  <a:pt x="644029" y="808545"/>
                </a:lnTo>
                <a:lnTo>
                  <a:pt x="1012075" y="808329"/>
                </a:lnTo>
                <a:lnTo>
                  <a:pt x="1053475" y="805593"/>
                </a:lnTo>
                <a:lnTo>
                  <a:pt x="1111667" y="790663"/>
                </a:lnTo>
                <a:lnTo>
                  <a:pt x="1152409" y="770761"/>
                </a:lnTo>
                <a:lnTo>
                  <a:pt x="1188659" y="744468"/>
                </a:lnTo>
                <a:lnTo>
                  <a:pt x="1219769" y="712581"/>
                </a:lnTo>
                <a:lnTo>
                  <a:pt x="1245096" y="675896"/>
                </a:lnTo>
                <a:lnTo>
                  <a:pt x="1263991" y="635212"/>
                </a:lnTo>
                <a:lnTo>
                  <a:pt x="1275810" y="591325"/>
                </a:lnTo>
                <a:lnTo>
                  <a:pt x="1279906" y="545033"/>
                </a:lnTo>
                <a:lnTo>
                  <a:pt x="1279931" y="264858"/>
                </a:lnTo>
                <a:lnTo>
                  <a:pt x="1278979" y="242183"/>
                </a:lnTo>
                <a:lnTo>
                  <a:pt x="1271457" y="197810"/>
                </a:lnTo>
                <a:lnTo>
                  <a:pt x="1245876" y="133614"/>
                </a:lnTo>
                <a:lnTo>
                  <a:pt x="1219758" y="95712"/>
                </a:lnTo>
                <a:lnTo>
                  <a:pt x="1187613" y="63130"/>
                </a:lnTo>
                <a:lnTo>
                  <a:pt x="1150426" y="36569"/>
                </a:lnTo>
                <a:lnTo>
                  <a:pt x="1109183" y="16726"/>
                </a:lnTo>
                <a:lnTo>
                  <a:pt x="1064867" y="4303"/>
                </a:lnTo>
                <a:lnTo>
                  <a:pt x="1018463" y="0"/>
                </a:lnTo>
                <a:close/>
              </a:path>
            </a:pathLst>
          </a:custGeom>
          <a:solidFill>
            <a:srgbClr val="0065E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35">
            <a:extLst>
              <a:ext uri="{FF2B5EF4-FFF2-40B4-BE49-F238E27FC236}">
                <a16:creationId xmlns:a16="http://schemas.microsoft.com/office/drawing/2014/main" id="{440E8EDD-1D16-4845-8A0C-9B68490993B8}"/>
              </a:ext>
            </a:extLst>
          </p:cNvPr>
          <p:cNvSpPr/>
          <p:nvPr userDrawn="1"/>
        </p:nvSpPr>
        <p:spPr>
          <a:xfrm>
            <a:off x="10077683" y="3038314"/>
            <a:ext cx="1280160" cy="1001394"/>
          </a:xfrm>
          <a:custGeom>
            <a:avLst/>
            <a:gdLst/>
            <a:ahLst/>
            <a:cxnLst/>
            <a:rect l="l" t="t" r="r" b="b"/>
            <a:pathLst>
              <a:path w="1280159" h="1001395">
                <a:moveTo>
                  <a:pt x="1018463" y="0"/>
                </a:moveTo>
                <a:lnTo>
                  <a:pt x="261429" y="215"/>
                </a:lnTo>
                <a:lnTo>
                  <a:pt x="223306" y="3207"/>
                </a:lnTo>
                <a:lnTo>
                  <a:pt x="166014" y="18907"/>
                </a:lnTo>
                <a:lnTo>
                  <a:pt x="125375" y="39200"/>
                </a:lnTo>
                <a:lnTo>
                  <a:pt x="89442" y="65656"/>
                </a:lnTo>
                <a:lnTo>
                  <a:pt x="58778" y="97566"/>
                </a:lnTo>
                <a:lnTo>
                  <a:pt x="33947" y="134221"/>
                </a:lnTo>
                <a:lnTo>
                  <a:pt x="15513" y="174912"/>
                </a:lnTo>
                <a:lnTo>
                  <a:pt x="4038" y="218932"/>
                </a:lnTo>
                <a:lnTo>
                  <a:pt x="88" y="265569"/>
                </a:lnTo>
                <a:lnTo>
                  <a:pt x="0" y="978458"/>
                </a:lnTo>
                <a:lnTo>
                  <a:pt x="622" y="989279"/>
                </a:lnTo>
                <a:lnTo>
                  <a:pt x="5956" y="995972"/>
                </a:lnTo>
                <a:lnTo>
                  <a:pt x="22783" y="1001318"/>
                </a:lnTo>
                <a:lnTo>
                  <a:pt x="29362" y="998042"/>
                </a:lnTo>
                <a:lnTo>
                  <a:pt x="243192" y="809929"/>
                </a:lnTo>
                <a:lnTo>
                  <a:pt x="246875" y="808431"/>
                </a:lnTo>
                <a:lnTo>
                  <a:pt x="644029" y="808545"/>
                </a:lnTo>
                <a:lnTo>
                  <a:pt x="1012075" y="808329"/>
                </a:lnTo>
                <a:lnTo>
                  <a:pt x="1053475" y="805593"/>
                </a:lnTo>
                <a:lnTo>
                  <a:pt x="1111667" y="790663"/>
                </a:lnTo>
                <a:lnTo>
                  <a:pt x="1152409" y="770761"/>
                </a:lnTo>
                <a:lnTo>
                  <a:pt x="1188659" y="744468"/>
                </a:lnTo>
                <a:lnTo>
                  <a:pt x="1219769" y="712581"/>
                </a:lnTo>
                <a:lnTo>
                  <a:pt x="1245096" y="675896"/>
                </a:lnTo>
                <a:lnTo>
                  <a:pt x="1263991" y="635212"/>
                </a:lnTo>
                <a:lnTo>
                  <a:pt x="1275810" y="591325"/>
                </a:lnTo>
                <a:lnTo>
                  <a:pt x="1279906" y="545033"/>
                </a:lnTo>
                <a:lnTo>
                  <a:pt x="1279931" y="264858"/>
                </a:lnTo>
                <a:lnTo>
                  <a:pt x="1278979" y="242183"/>
                </a:lnTo>
                <a:lnTo>
                  <a:pt x="1271457" y="197810"/>
                </a:lnTo>
                <a:lnTo>
                  <a:pt x="1245876" y="133614"/>
                </a:lnTo>
                <a:lnTo>
                  <a:pt x="1219758" y="95712"/>
                </a:lnTo>
                <a:lnTo>
                  <a:pt x="1187613" y="63130"/>
                </a:lnTo>
                <a:lnTo>
                  <a:pt x="1150426" y="36569"/>
                </a:lnTo>
                <a:lnTo>
                  <a:pt x="1109183" y="16726"/>
                </a:lnTo>
                <a:lnTo>
                  <a:pt x="1064867" y="4303"/>
                </a:lnTo>
                <a:lnTo>
                  <a:pt x="1018463" y="0"/>
                </a:lnTo>
                <a:close/>
              </a:path>
            </a:pathLst>
          </a:custGeom>
          <a:solidFill>
            <a:srgbClr val="4FE3F2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386265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object 2">
            <a:extLst>
              <a:ext uri="{FF2B5EF4-FFF2-40B4-BE49-F238E27FC236}">
                <a16:creationId xmlns:a16="http://schemas.microsoft.com/office/drawing/2014/main" id="{3EB90D4E-ACDD-4F86-99CD-F66FB1DE4EBA}"/>
              </a:ext>
            </a:extLst>
          </p:cNvPr>
          <p:cNvSpPr/>
          <p:nvPr userDrawn="1"/>
        </p:nvSpPr>
        <p:spPr>
          <a:xfrm>
            <a:off x="8109647" y="0"/>
            <a:ext cx="4082352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37" name="object 2">
            <a:extLst>
              <a:ext uri="{FF2B5EF4-FFF2-40B4-BE49-F238E27FC236}">
                <a16:creationId xmlns:a16="http://schemas.microsoft.com/office/drawing/2014/main" id="{046C767C-3CA4-4F78-B9DF-A76C72C21650}"/>
              </a:ext>
            </a:extLst>
          </p:cNvPr>
          <p:cNvSpPr/>
          <p:nvPr userDrawn="1"/>
        </p:nvSpPr>
        <p:spPr>
          <a:xfrm>
            <a:off x="4027296" y="0"/>
            <a:ext cx="4082352" cy="6858000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pPr algn="ctr"/>
            <a:endParaRPr/>
          </a:p>
        </p:txBody>
      </p:sp>
      <p:sp>
        <p:nvSpPr>
          <p:cNvPr id="38" name="object 2">
            <a:extLst>
              <a:ext uri="{FF2B5EF4-FFF2-40B4-BE49-F238E27FC236}">
                <a16:creationId xmlns:a16="http://schemas.microsoft.com/office/drawing/2014/main" id="{600FB390-3DF6-4B05-B750-880E8FD5E4D5}"/>
              </a:ext>
            </a:extLst>
          </p:cNvPr>
          <p:cNvSpPr/>
          <p:nvPr userDrawn="1"/>
        </p:nvSpPr>
        <p:spPr>
          <a:xfrm>
            <a:off x="-9939" y="0"/>
            <a:ext cx="4082353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pic>
        <p:nvPicPr>
          <p:cNvPr id="39" name="Picture 38" descr="Logo&#10;&#10;Description automatically generated">
            <a:extLst>
              <a:ext uri="{FF2B5EF4-FFF2-40B4-BE49-F238E27FC236}">
                <a16:creationId xmlns:a16="http://schemas.microsoft.com/office/drawing/2014/main" id="{907355F3-E6DD-4A36-8AB8-BC23CEA4DB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8649" y="2544620"/>
            <a:ext cx="3779646" cy="1768759"/>
          </a:xfrm>
          <a:prstGeom prst="rect">
            <a:avLst/>
          </a:prstGeom>
        </p:spPr>
      </p:pic>
      <p:pic>
        <p:nvPicPr>
          <p:cNvPr id="47" name="Picture 46" descr="Logo&#10;&#10;Description automatically generated">
            <a:extLst>
              <a:ext uri="{FF2B5EF4-FFF2-40B4-BE49-F238E27FC236}">
                <a16:creationId xmlns:a16="http://schemas.microsoft.com/office/drawing/2014/main" id="{BD42BE28-91C6-44C8-9494-D8AE22FD52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1000" y="2544619"/>
            <a:ext cx="3779646" cy="1768760"/>
          </a:xfrm>
          <a:prstGeom prst="rect">
            <a:avLst/>
          </a:prstGeom>
        </p:spPr>
      </p:pic>
      <p:pic>
        <p:nvPicPr>
          <p:cNvPr id="48" name="Picture 47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76A86813-C9F1-4858-9377-E2365F1635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415" y="2544619"/>
            <a:ext cx="3779646" cy="1768759"/>
          </a:xfrm>
          <a:prstGeom prst="rect">
            <a:avLst/>
          </a:prstGeom>
        </p:spPr>
      </p:pic>
      <p:sp>
        <p:nvSpPr>
          <p:cNvPr id="22" name="object 2">
            <a:extLst>
              <a:ext uri="{FF2B5EF4-FFF2-40B4-BE49-F238E27FC236}">
                <a16:creationId xmlns:a16="http://schemas.microsoft.com/office/drawing/2014/main" id="{4F62F695-717D-374C-802D-7FEBEAD6FE46}"/>
              </a:ext>
            </a:extLst>
          </p:cNvPr>
          <p:cNvSpPr/>
          <p:nvPr userDrawn="1"/>
        </p:nvSpPr>
        <p:spPr>
          <a:xfrm>
            <a:off x="-9939" y="1"/>
            <a:ext cx="12201939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3">
            <a:extLst>
              <a:ext uri="{FF2B5EF4-FFF2-40B4-BE49-F238E27FC236}">
                <a16:creationId xmlns:a16="http://schemas.microsoft.com/office/drawing/2014/main" id="{B392FAE7-9F0A-8D4D-94F3-8E024FD2710E}"/>
              </a:ext>
            </a:extLst>
          </p:cNvPr>
          <p:cNvSpPr/>
          <p:nvPr userDrawn="1"/>
        </p:nvSpPr>
        <p:spPr>
          <a:xfrm>
            <a:off x="-9939" y="949394"/>
            <a:ext cx="12201939" cy="90512"/>
          </a:xfrm>
          <a:custGeom>
            <a:avLst/>
            <a:gdLst/>
            <a:ahLst/>
            <a:cxnLst/>
            <a:rect l="l" t="t" r="r" b="b"/>
            <a:pathLst>
              <a:path w="14630400" h="132715">
                <a:moveTo>
                  <a:pt x="0" y="132575"/>
                </a:moveTo>
                <a:lnTo>
                  <a:pt x="14630400" y="132575"/>
                </a:lnTo>
                <a:lnTo>
                  <a:pt x="14630400" y="0"/>
                </a:lnTo>
                <a:lnTo>
                  <a:pt x="0" y="0"/>
                </a:lnTo>
                <a:lnTo>
                  <a:pt x="0" y="13257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70D3D3E5-0E23-274C-9962-BEA8E59E9D56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DE34C67-EF85-5741-BCC6-1C9234DAED84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Title 23">
            <a:extLst>
              <a:ext uri="{FF2B5EF4-FFF2-40B4-BE49-F238E27FC236}">
                <a16:creationId xmlns:a16="http://schemas.microsoft.com/office/drawing/2014/main" id="{B00B551D-C2BA-4CDD-916B-071BF2EC950A}"/>
              </a:ext>
            </a:extLst>
          </p:cNvPr>
          <p:cNvSpPr txBox="1">
            <a:spLocks/>
          </p:cNvSpPr>
          <p:nvPr userDrawn="1"/>
        </p:nvSpPr>
        <p:spPr>
          <a:xfrm>
            <a:off x="649510" y="157851"/>
            <a:ext cx="10937489" cy="6232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Logos for your use</a:t>
            </a:r>
          </a:p>
        </p:txBody>
      </p:sp>
    </p:spTree>
    <p:extLst>
      <p:ext uri="{BB962C8B-B14F-4D97-AF65-F5344CB8AC3E}">
        <p14:creationId xmlns:p14="http://schemas.microsoft.com/office/powerpoint/2010/main" val="12953095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Объект 26">
            <a:extLst>
              <a:ext uri="{FF2B5EF4-FFF2-40B4-BE49-F238E27FC236}">
                <a16:creationId xmlns:a16="http://schemas.microsoft.com/office/drawing/2014/main" id="{5F979642-F036-69F0-E49D-70E1AEBE9EF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16000" y="514350"/>
            <a:ext cx="10160000" cy="691984"/>
          </a:xfrm>
        </p:spPr>
        <p:txBody>
          <a:bodyPr lIns="0" tIns="0" rIns="0" bIns="0"/>
          <a:lstStyle>
            <a:lvl1pPr algn="ctr">
              <a:defRPr kumimoji="1" lang="ru-RU" b="1" i="0" u="none" strike="noStrike" cap="none" spc="0" normalizeH="0" baseline="0" dirty="0">
                <a:ln>
                  <a:noFill/>
                </a:ln>
                <a:gradFill>
                  <a:gsLst>
                    <a:gs pos="8000">
                      <a:srgbClr val="0D2771"/>
                    </a:gs>
                    <a:gs pos="100000">
                      <a:srgbClr val="01AAEE"/>
                    </a:gs>
                  </a:gsLst>
                  <a:path path="circle">
                    <a:fillToRect t="100000" r="100000"/>
                  </a:path>
                </a:gradFill>
                <a:effectLst/>
                <a:uLnTx/>
                <a:uFillTx/>
                <a:latin typeface="Montserrat" pitchFamily="2" charset="0"/>
                <a:ea typeface="+mj-ea"/>
                <a:cs typeface="Arial" panose="020B0604020202020204" pitchFamily="34" charset="0"/>
              </a:defRPr>
            </a:lvl1pPr>
          </a:lstStyle>
          <a:p>
            <a:pPr marR="0" lvl="0" defTabSz="609585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ru-RU"/>
              <a:t>Важная часть заголовка </a:t>
            </a:r>
          </a:p>
          <a:p>
            <a:pPr marR="0" lvl="0" defTabSz="609585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ru-RU"/>
              <a:t>В</a:t>
            </a:r>
            <a:r>
              <a:rPr lang="en-US"/>
              <a:t> </a:t>
            </a:r>
            <a:r>
              <a:rPr lang="ru-RU"/>
              <a:t>две строки</a:t>
            </a:r>
          </a:p>
        </p:txBody>
      </p:sp>
      <p:sp>
        <p:nvSpPr>
          <p:cNvPr id="28" name="Объект 26">
            <a:extLst>
              <a:ext uri="{FF2B5EF4-FFF2-40B4-BE49-F238E27FC236}">
                <a16:creationId xmlns:a16="http://schemas.microsoft.com/office/drawing/2014/main" id="{62CFD1BE-002B-5A2B-14C4-B17FBDC9B7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16000" y="1360806"/>
            <a:ext cx="10160000" cy="173637"/>
          </a:xfrm>
        </p:spPr>
        <p:txBody>
          <a:bodyPr lIns="0" tIns="0" rIns="0" bIns="0"/>
          <a:lstStyle>
            <a:lvl1pPr algn="ctr">
              <a:defRPr kumimoji="1" lang="ru-RU" sz="14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ontserrat" pitchFamily="2" charset="0"/>
                <a:ea typeface="+mj-ea"/>
                <a:cs typeface="Arial" panose="020B0604020202020204" pitchFamily="34" charset="0"/>
              </a:defRPr>
            </a:lvl1pPr>
          </a:lstStyle>
          <a:p>
            <a:pPr marR="0" lvl="0" defTabSz="609585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ru-RU"/>
              <a:t>Название таблицы</a:t>
            </a:r>
          </a:p>
        </p:txBody>
      </p:sp>
      <p:sp>
        <p:nvSpPr>
          <p:cNvPr id="30" name="Текст 29">
            <a:extLst>
              <a:ext uri="{FF2B5EF4-FFF2-40B4-BE49-F238E27FC236}">
                <a16:creationId xmlns:a16="http://schemas.microsoft.com/office/drawing/2014/main" id="{812839A3-6D9A-1E9D-B53E-DF5E6BB119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1591901"/>
            <a:ext cx="11233150" cy="3143251"/>
          </a:xfrm>
          <a:prstGeom prst="roundRect">
            <a:avLst>
              <a:gd name="adj" fmla="val 5998"/>
            </a:avLst>
          </a:prstGeom>
          <a:solidFill>
            <a:schemeClr val="bg1"/>
          </a:solidFill>
          <a:ln w="19050">
            <a:solidFill>
              <a:srgbClr val="FEB800"/>
            </a:solidFill>
          </a:ln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endParaRPr lang="ru-RU"/>
          </a:p>
        </p:txBody>
      </p:sp>
      <p:sp>
        <p:nvSpPr>
          <p:cNvPr id="32" name="Диаграмма 31">
            <a:extLst>
              <a:ext uri="{FF2B5EF4-FFF2-40B4-BE49-F238E27FC236}">
                <a16:creationId xmlns:a16="http://schemas.microsoft.com/office/drawing/2014/main" id="{C3A9A733-6ED2-E608-6C31-FA6DAE61AB22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84201" y="1803399"/>
            <a:ext cx="9461500" cy="2767949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33" name="Диаграмма 31">
            <a:extLst>
              <a:ext uri="{FF2B5EF4-FFF2-40B4-BE49-F238E27FC236}">
                <a16:creationId xmlns:a16="http://schemas.microsoft.com/office/drawing/2014/main" id="{F34C32EB-DAD1-4C9D-203C-8CB9BFD961FD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10267427" y="1803399"/>
            <a:ext cx="1152197" cy="2767949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35" name="Таблица 34">
            <a:extLst>
              <a:ext uri="{FF2B5EF4-FFF2-40B4-BE49-F238E27FC236}">
                <a16:creationId xmlns:a16="http://schemas.microsoft.com/office/drawing/2014/main" id="{3F7418D5-0597-C4A3-5E3B-E53917F07746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479425" y="4838701"/>
            <a:ext cx="11233150" cy="1039586"/>
          </a:xfrm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38" name="Объект 26">
            <a:extLst>
              <a:ext uri="{FF2B5EF4-FFF2-40B4-BE49-F238E27FC236}">
                <a16:creationId xmlns:a16="http://schemas.microsoft.com/office/drawing/2014/main" id="{13F4A556-18CA-2083-601B-EBB151DD21E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79425" y="6112336"/>
            <a:ext cx="1020972" cy="345992"/>
          </a:xfrm>
        </p:spPr>
        <p:txBody>
          <a:bodyPr lIns="0" tIns="0" rIns="0" bIns="0"/>
          <a:lstStyle>
            <a:lvl1pPr algn="l">
              <a:defRPr kumimoji="1" lang="ru-RU" sz="1400" b="1" i="0" u="none" strike="noStrike" cap="none" spc="0" normalizeH="0" baseline="0" dirty="0">
                <a:ln>
                  <a:noFill/>
                </a:ln>
                <a:solidFill>
                  <a:srgbClr val="0D2771"/>
                </a:solidFill>
                <a:effectLst/>
                <a:uLnTx/>
                <a:uFillTx/>
                <a:latin typeface="Montserrat" pitchFamily="2" charset="0"/>
                <a:ea typeface="+mj-ea"/>
                <a:cs typeface="Arial" panose="020B0604020202020204" pitchFamily="34" charset="0"/>
              </a:defRPr>
            </a:lvl1pPr>
          </a:lstStyle>
          <a:p>
            <a:pPr marR="0" lvl="0" defTabSz="609585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ru-RU"/>
              <a:t>Текст</a:t>
            </a:r>
          </a:p>
          <a:p>
            <a:pPr marR="0" lvl="0" defTabSz="609585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ru-RU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2867673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5" name="Picture 4" descr="Shape&#10;&#10;Description automatically generated">
            <a:extLst>
              <a:ext uri="{FF2B5EF4-FFF2-40B4-BE49-F238E27FC236}">
                <a16:creationId xmlns:a16="http://schemas.microsoft.com/office/drawing/2014/main" id="{4E7D94B0-F89E-124C-9342-F2D79E56E8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>
            <a:off x="-34287" y="0"/>
            <a:ext cx="3425828" cy="3429000"/>
          </a:xfrm>
          <a:prstGeom prst="rect">
            <a:avLst/>
          </a:prstGeom>
        </p:spPr>
      </p:pic>
      <p:pic>
        <p:nvPicPr>
          <p:cNvPr id="9" name="Picture 8" descr="Diagram, venn diagram&#10;&#10;Description automatically generated">
            <a:extLst>
              <a:ext uri="{FF2B5EF4-FFF2-40B4-BE49-F238E27FC236}">
                <a16:creationId xmlns:a16="http://schemas.microsoft.com/office/drawing/2014/main" id="{1ED6D30F-6EB1-E940-972C-5C415573E1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541" y="0"/>
            <a:ext cx="3425828" cy="3429000"/>
          </a:xfrm>
          <a:prstGeom prst="rect">
            <a:avLst/>
          </a:prstGeom>
        </p:spPr>
      </p:pic>
      <p:pic>
        <p:nvPicPr>
          <p:cNvPr id="11" name="Picture 10" descr="Chart, pie chart&#10;&#10;Description automatically generated">
            <a:extLst>
              <a:ext uri="{FF2B5EF4-FFF2-40B4-BE49-F238E27FC236}">
                <a16:creationId xmlns:a16="http://schemas.microsoft.com/office/drawing/2014/main" id="{3C584B47-FF61-1E42-880C-6325350EB38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4288" y="3429000"/>
            <a:ext cx="3425827" cy="3428999"/>
          </a:xfrm>
          <a:prstGeom prst="rect">
            <a:avLst/>
          </a:prstGeom>
        </p:spPr>
      </p:pic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D472BBD1-1FDB-234E-AAC1-6FF28BCB9B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540" y="3428997"/>
            <a:ext cx="3425831" cy="3429003"/>
          </a:xfrm>
          <a:prstGeom prst="rect">
            <a:avLst/>
          </a:prstGeom>
        </p:spPr>
      </p:pic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/>
        </p:nvSpPr>
        <p:spPr>
          <a:xfrm>
            <a:off x="7648609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34372" y="3376933"/>
            <a:ext cx="3587051" cy="334962"/>
          </a:xfrm>
        </p:spPr>
        <p:txBody>
          <a:bodyPr/>
          <a:lstStyle>
            <a:lvl1pPr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34309" y="3882109"/>
            <a:ext cx="3345069" cy="334962"/>
          </a:xfrm>
        </p:spPr>
        <p:txBody>
          <a:bodyPr/>
          <a:lstStyle>
            <a:lvl1pPr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34372" y="2156693"/>
            <a:ext cx="3811904" cy="932688"/>
          </a:xfrm>
        </p:spPr>
        <p:txBody>
          <a:bodyPr>
            <a:noAutofit/>
          </a:bodyPr>
          <a:lstStyle>
            <a:lvl1pPr marL="7938" indent="-7938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epsiCo Positive</a:t>
            </a:r>
          </a:p>
          <a:p>
            <a:pPr lvl="0"/>
            <a:r>
              <a:rPr lang="en-US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9312936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E6CCAFD-2BDF-C149-ABEA-30E622D97F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8995" y="1274778"/>
            <a:ext cx="10952148" cy="4810836"/>
          </a:xfrm>
        </p:spPr>
        <p:txBody>
          <a:bodyPr>
            <a:noAutofit/>
          </a:bodyPr>
          <a:lstStyle>
            <a:lvl1pPr marL="287338" indent="-28733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0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20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81075" indent="-3413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2000">
                <a:solidFill>
                  <a:schemeClr val="accent5">
                    <a:lumMod val="75000"/>
                  </a:schemeClr>
                </a:solidFill>
              </a:defRPr>
            </a:lvl3pPr>
            <a:lvl4pPr marL="1376363" indent="-354013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2000">
                <a:solidFill>
                  <a:schemeClr val="accent5">
                    <a:lumMod val="75000"/>
                  </a:schemeClr>
                </a:solidFill>
              </a:defRPr>
            </a:lvl4pPr>
            <a:lvl5pPr marL="1781175" indent="-361950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20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19" name="object 2"/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rgbClr val="00A6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3"/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B4B6F706-AD1F-B640-B628-5D2672D7B801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691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2"/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B4B6F706-AD1F-B640-B628-5D2672D7B801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6D40EB1-E54E-3D43-82D2-2C0B316D02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231" y="1274778"/>
            <a:ext cx="10952148" cy="4810836"/>
          </a:xfrm>
        </p:spPr>
        <p:txBody>
          <a:bodyPr>
            <a:noAutofit/>
          </a:bodyPr>
          <a:lstStyle>
            <a:lvl1pPr marL="350838" indent="-35083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92150" marR="0" indent="-406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2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35050" indent="-395288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2800">
                <a:solidFill>
                  <a:schemeClr val="accent5">
                    <a:lumMod val="75000"/>
                  </a:schemeClr>
                </a:solidFill>
              </a:defRPr>
            </a:lvl3pPr>
            <a:lvl4pPr marL="1428750" indent="-406400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2800">
                <a:solidFill>
                  <a:schemeClr val="accent5">
                    <a:lumMod val="75000"/>
                  </a:schemeClr>
                </a:solidFill>
              </a:defRPr>
            </a:lvl4pPr>
            <a:lvl5pPr marL="1835150" indent="-415925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28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084A86BC-9CF0-402C-84A3-5B1C293C6D19}"/>
              </a:ext>
            </a:extLst>
          </p:cNvPr>
          <p:cNvSpPr/>
          <p:nvPr userDrawn="1"/>
        </p:nvSpPr>
        <p:spPr>
          <a:xfrm>
            <a:off x="0" y="949394"/>
            <a:ext cx="12192000" cy="90512"/>
          </a:xfrm>
          <a:custGeom>
            <a:avLst/>
            <a:gdLst/>
            <a:ahLst/>
            <a:cxnLst/>
            <a:rect l="l" t="t" r="r" b="b"/>
            <a:pathLst>
              <a:path w="14630400" h="132715">
                <a:moveTo>
                  <a:pt x="0" y="132575"/>
                </a:moveTo>
                <a:lnTo>
                  <a:pt x="14630400" y="132575"/>
                </a:lnTo>
                <a:lnTo>
                  <a:pt x="14630400" y="0"/>
                </a:lnTo>
                <a:lnTo>
                  <a:pt x="0" y="0"/>
                </a:lnTo>
                <a:lnTo>
                  <a:pt x="0" y="13257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801079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19" name="object 2"/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3"/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B4B6F706-AD1F-B640-B628-5D2672D7B801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2458656-E94C-3A44-B039-341637731B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8995" y="1274778"/>
            <a:ext cx="10952148" cy="4810836"/>
          </a:xfrm>
        </p:spPr>
        <p:txBody>
          <a:bodyPr>
            <a:noAutofit/>
          </a:bodyPr>
          <a:lstStyle>
            <a:lvl1pPr marL="287338" indent="-28733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0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20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81075" indent="-3413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2000">
                <a:solidFill>
                  <a:schemeClr val="accent5">
                    <a:lumMod val="75000"/>
                  </a:schemeClr>
                </a:solidFill>
              </a:defRPr>
            </a:lvl3pPr>
            <a:lvl4pPr marL="1376363" indent="-354013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2000">
                <a:solidFill>
                  <a:schemeClr val="accent5">
                    <a:lumMod val="75000"/>
                  </a:schemeClr>
                </a:solidFill>
              </a:defRPr>
            </a:lvl4pPr>
            <a:lvl5pPr marL="1781175" indent="-361950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80000"/>
              <a:buFont typeface="Wingdings" pitchFamily="2" charset="2"/>
              <a:buChar char="§"/>
              <a:tabLst/>
              <a:defRPr sz="20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6887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image" Target="../media/image1.emf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4F95AF-2496-4632-A158-835CEA47C8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139601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443" imgH="443" progId="TCLayout.ActiveDocument.1">
                  <p:embed/>
                </p:oleObj>
              </mc:Choice>
              <mc:Fallback>
                <p:oleObj name="think-cell Slide" r:id="rId60" imgW="443" imgH="44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4F95AF-2496-4632-A158-835CEA47C8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1FD0BA-3AA9-459F-A2B0-5B0986A4C2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661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655" r:id="rId2"/>
    <p:sldLayoutId id="2147483720" r:id="rId3"/>
    <p:sldLayoutId id="2147483723" r:id="rId4"/>
    <p:sldLayoutId id="2147483721" r:id="rId5"/>
    <p:sldLayoutId id="2147483715" r:id="rId6"/>
    <p:sldLayoutId id="2147483708" r:id="rId7"/>
    <p:sldLayoutId id="2147483754" r:id="rId8"/>
    <p:sldLayoutId id="2147483724" r:id="rId9"/>
    <p:sldLayoutId id="2147483725" r:id="rId10"/>
    <p:sldLayoutId id="2147483682" r:id="rId11"/>
    <p:sldLayoutId id="2147483704" r:id="rId12"/>
    <p:sldLayoutId id="2147483722" r:id="rId13"/>
    <p:sldLayoutId id="2147483689" r:id="rId14"/>
    <p:sldLayoutId id="2147483755" r:id="rId15"/>
    <p:sldLayoutId id="2147483741" r:id="rId16"/>
    <p:sldLayoutId id="2147483672" r:id="rId17"/>
    <p:sldLayoutId id="2147483661" r:id="rId18"/>
    <p:sldLayoutId id="2147483668" r:id="rId19"/>
    <p:sldLayoutId id="2147483669" r:id="rId20"/>
    <p:sldLayoutId id="2147483670" r:id="rId21"/>
    <p:sldLayoutId id="2147483711" r:id="rId22"/>
    <p:sldLayoutId id="2147483671" r:id="rId23"/>
    <p:sldLayoutId id="2147483676" r:id="rId24"/>
    <p:sldLayoutId id="2147483727" r:id="rId25"/>
    <p:sldLayoutId id="2147483706" r:id="rId26"/>
    <p:sldLayoutId id="2147483756" r:id="rId27"/>
    <p:sldLayoutId id="2147483757" r:id="rId28"/>
    <p:sldLayoutId id="2147483758" r:id="rId29"/>
    <p:sldLayoutId id="2147483680" r:id="rId30"/>
    <p:sldLayoutId id="2147483677" r:id="rId31"/>
    <p:sldLayoutId id="2147483688" r:id="rId32"/>
    <p:sldLayoutId id="2147483681" r:id="rId33"/>
    <p:sldLayoutId id="2147483678" r:id="rId34"/>
    <p:sldLayoutId id="2147483683" r:id="rId35"/>
    <p:sldLayoutId id="2147483679" r:id="rId36"/>
    <p:sldLayoutId id="2147483748" r:id="rId37"/>
    <p:sldLayoutId id="2147483697" r:id="rId38"/>
    <p:sldLayoutId id="2147483751" r:id="rId39"/>
    <p:sldLayoutId id="2147483752" r:id="rId40"/>
    <p:sldLayoutId id="2147483750" r:id="rId41"/>
    <p:sldLayoutId id="2147483698" r:id="rId42"/>
    <p:sldLayoutId id="2147483749" r:id="rId43"/>
    <p:sldLayoutId id="2147483700" r:id="rId44"/>
    <p:sldLayoutId id="2147483701" r:id="rId45"/>
    <p:sldLayoutId id="2147483745" r:id="rId46"/>
    <p:sldLayoutId id="2147483746" r:id="rId47"/>
    <p:sldLayoutId id="2147483731" r:id="rId48"/>
    <p:sldLayoutId id="2147483719" r:id="rId49"/>
    <p:sldLayoutId id="2147483738" r:id="rId50"/>
    <p:sldLayoutId id="2147483744" r:id="rId51"/>
    <p:sldLayoutId id="2147483702" r:id="rId52"/>
    <p:sldLayoutId id="2147483703" r:id="rId53"/>
    <p:sldLayoutId id="2147483760" r:id="rId54"/>
    <p:sldLayoutId id="2147483761" r:id="rId55"/>
    <p:sldLayoutId id="2147483762" r:id="rId56"/>
    <p:sldLayoutId id="2147483763" r:id="rId5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gif"/><Relationship Id="rId3" Type="http://schemas.openxmlformats.org/officeDocument/2006/relationships/image" Target="../media/image74.jpeg"/><Relationship Id="rId7" Type="http://schemas.openxmlformats.org/officeDocument/2006/relationships/image" Target="../media/image7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4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60.png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jpeg"/><Relationship Id="rId3" Type="http://schemas.openxmlformats.org/officeDocument/2006/relationships/image" Target="../media/image61.jpeg"/><Relationship Id="rId7" Type="http://schemas.openxmlformats.org/officeDocument/2006/relationships/image" Target="../media/image65.jpeg"/><Relationship Id="rId12" Type="http://schemas.openxmlformats.org/officeDocument/2006/relationships/image" Target="../media/image7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4.jpeg"/><Relationship Id="rId11" Type="http://schemas.openxmlformats.org/officeDocument/2006/relationships/image" Target="../media/image69.jpeg"/><Relationship Id="rId5" Type="http://schemas.openxmlformats.org/officeDocument/2006/relationships/image" Target="../media/image63.jpeg"/><Relationship Id="rId10" Type="http://schemas.openxmlformats.org/officeDocument/2006/relationships/image" Target="../media/image68.jpeg"/><Relationship Id="rId4" Type="http://schemas.openxmlformats.org/officeDocument/2006/relationships/image" Target="../media/image62.jpeg"/><Relationship Id="rId9" Type="http://schemas.openxmlformats.org/officeDocument/2006/relationships/image" Target="../media/image6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87EAEA-4FFE-4377-95AE-C84F76C5BC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/>
              <a:t>Апрель 2025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20130F5-412B-DFBB-6243-7A8DF563418B}"/>
              </a:ext>
            </a:extLst>
          </p:cNvPr>
          <p:cNvSpPr txBox="1"/>
          <p:nvPr/>
        </p:nvSpPr>
        <p:spPr>
          <a:xfrm>
            <a:off x="7747000" y="1168400"/>
            <a:ext cx="4095750" cy="181588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 b="1" dirty="0" err="1">
                <a:solidFill>
                  <a:schemeClr val="bg1"/>
                </a:solidFill>
                <a:ea typeface="Calibri"/>
                <a:cs typeface="Calibri"/>
              </a:rPr>
              <a:t>Устойчивая</a:t>
            </a:r>
            <a:r>
              <a:rPr lang="en-US" sz="2800" b="1" dirty="0">
                <a:solidFill>
                  <a:schemeClr val="bg1"/>
                </a:solidFill>
                <a:ea typeface="Calibri"/>
                <a:cs typeface="Calibri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ea typeface="Calibri"/>
                <a:cs typeface="Calibri"/>
              </a:rPr>
              <a:t>трансформация</a:t>
            </a:r>
            <a:r>
              <a:rPr lang="en-US" sz="2800" b="1" dirty="0">
                <a:solidFill>
                  <a:schemeClr val="bg1"/>
                </a:solidFill>
                <a:ea typeface="Calibri"/>
                <a:cs typeface="Calibri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ea typeface="Calibri"/>
                <a:cs typeface="Calibri"/>
              </a:rPr>
              <a:t>бизнеса</a:t>
            </a:r>
            <a:r>
              <a:rPr lang="en-US" sz="2800" b="1" dirty="0">
                <a:solidFill>
                  <a:schemeClr val="bg1"/>
                </a:solidFill>
                <a:ea typeface="Calibri"/>
                <a:cs typeface="Calibri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ea typeface="Calibri"/>
                <a:cs typeface="Calibri"/>
              </a:rPr>
              <a:t>от</a:t>
            </a:r>
            <a:r>
              <a:rPr lang="en-US" sz="2800" b="1" dirty="0">
                <a:solidFill>
                  <a:schemeClr val="bg1"/>
                </a:solidFill>
                <a:ea typeface="Calibri"/>
                <a:cs typeface="Calibri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ea typeface="Calibri"/>
                <a:cs typeface="Calibri"/>
              </a:rPr>
              <a:t>поля</a:t>
            </a:r>
            <a:r>
              <a:rPr lang="en-US" sz="2800" b="1" dirty="0">
                <a:solidFill>
                  <a:schemeClr val="bg1"/>
                </a:solidFill>
                <a:ea typeface="Calibri"/>
                <a:cs typeface="Calibri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ea typeface="Calibri"/>
                <a:cs typeface="Calibri"/>
              </a:rPr>
              <a:t>до</a:t>
            </a:r>
            <a:r>
              <a:rPr lang="en-US" sz="2800" b="1" dirty="0">
                <a:solidFill>
                  <a:schemeClr val="bg1"/>
                </a:solidFill>
                <a:ea typeface="Calibri"/>
                <a:cs typeface="Calibri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ea typeface="Calibri"/>
                <a:cs typeface="Calibri"/>
              </a:rPr>
              <a:t>готовой</a:t>
            </a:r>
            <a:r>
              <a:rPr lang="en-US" sz="2800" b="1" dirty="0">
                <a:solidFill>
                  <a:schemeClr val="bg1"/>
                </a:solidFill>
                <a:ea typeface="Calibri"/>
                <a:cs typeface="Calibri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ea typeface="Calibri"/>
                <a:cs typeface="Calibri"/>
              </a:rPr>
              <a:t>продукции</a:t>
            </a:r>
            <a:endParaRPr lang="en-US" sz="2800" b="1" dirty="0">
              <a:solidFill>
                <a:schemeClr val="bg1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480772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9000">
              <a:srgbClr val="007BFF"/>
            </a:gs>
            <a:gs pos="100000">
              <a:srgbClr val="01A5E9"/>
            </a:gs>
          </a:gsLst>
          <a:path path="circle">
            <a:fillToRect t="100000" r="100000"/>
          </a:path>
          <a:tileRect l="-100000" b="-10000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C02E65D-ED8F-12EE-68C6-ABEFFD5E0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Овал 45">
            <a:extLst>
              <a:ext uri="{FF2B5EF4-FFF2-40B4-BE49-F238E27FC236}">
                <a16:creationId xmlns:a16="http://schemas.microsoft.com/office/drawing/2014/main" id="{83C7F80F-CF18-9AF4-47FF-F93A6465AA7F}"/>
              </a:ext>
            </a:extLst>
          </p:cNvPr>
          <p:cNvSpPr/>
          <p:nvPr/>
        </p:nvSpPr>
        <p:spPr>
          <a:xfrm>
            <a:off x="-1971841" y="4334847"/>
            <a:ext cx="3287217" cy="3287217"/>
          </a:xfrm>
          <a:prstGeom prst="ellipse">
            <a:avLst/>
          </a:prstGeom>
          <a:solidFill>
            <a:srgbClr val="FEB8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Прямоугольник: скругленные углы 53">
            <a:extLst>
              <a:ext uri="{FF2B5EF4-FFF2-40B4-BE49-F238E27FC236}">
                <a16:creationId xmlns:a16="http://schemas.microsoft.com/office/drawing/2014/main" id="{38161B13-2B8B-369F-5C44-802FC7AA59A3}"/>
              </a:ext>
            </a:extLst>
          </p:cNvPr>
          <p:cNvSpPr/>
          <p:nvPr/>
        </p:nvSpPr>
        <p:spPr>
          <a:xfrm>
            <a:off x="5267978" y="1891188"/>
            <a:ext cx="5442058" cy="749299"/>
          </a:xfrm>
          <a:prstGeom prst="roundRect">
            <a:avLst>
              <a:gd name="adj" fmla="val 23023"/>
            </a:avLst>
          </a:prstGeom>
          <a:solidFill>
            <a:srgbClr val="FEB800"/>
          </a:solidFill>
          <a:ln>
            <a:solidFill>
              <a:srgbClr val="FEB8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A18803D-5F8C-A0F2-0FAD-4769D2CBDD5D}"/>
              </a:ext>
            </a:extLst>
          </p:cNvPr>
          <p:cNvSpPr txBox="1"/>
          <p:nvPr/>
        </p:nvSpPr>
        <p:spPr>
          <a:xfrm>
            <a:off x="4498335" y="2099873"/>
            <a:ext cx="6298513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algn="ctr">
              <a:defRPr sz="1400" b="1">
                <a:latin typeface="Montserrat" panose="00000500000000000000" pitchFamily="2" charset="-52"/>
              </a:defRPr>
            </a:lvl1pPr>
            <a:lvl2pPr marL="0" lvl="1" algn="ctr" defTabSz="1204091" fontAlgn="base">
              <a:spcBef>
                <a:spcPct val="0"/>
              </a:spcBef>
              <a:spcAft>
                <a:spcPct val="0"/>
              </a:spcAft>
              <a:defRPr b="1">
                <a:latin typeface="Montserrat"/>
              </a:defRPr>
            </a:lvl2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УЧИМ УТИЛИЗИРОВАТЬ ПРАВИЛЬНО</a:t>
            </a:r>
          </a:p>
        </p:txBody>
      </p:sp>
      <p:sp>
        <p:nvSpPr>
          <p:cNvPr id="1029" name="Прямоугольник: скругленные углы 1028">
            <a:extLst>
              <a:ext uri="{FF2B5EF4-FFF2-40B4-BE49-F238E27FC236}">
                <a16:creationId xmlns:a16="http://schemas.microsoft.com/office/drawing/2014/main" id="{54D5A3C4-81A8-A80E-23F3-899094F4850C}"/>
              </a:ext>
            </a:extLst>
          </p:cNvPr>
          <p:cNvSpPr/>
          <p:nvPr/>
        </p:nvSpPr>
        <p:spPr>
          <a:xfrm>
            <a:off x="484750" y="2044701"/>
            <a:ext cx="4549959" cy="4544868"/>
          </a:xfrm>
          <a:prstGeom prst="roundRect">
            <a:avLst>
              <a:gd name="adj" fmla="val 6976"/>
            </a:avLst>
          </a:prstGeom>
          <a:solidFill>
            <a:schemeClr val="bg1"/>
          </a:solidFill>
          <a:ln>
            <a:solidFill>
              <a:srgbClr val="FEB800"/>
            </a:solidFill>
          </a:ln>
          <a:effectLst>
            <a:outerShdw blurRad="139700" algn="ctr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4092F094-5A65-9765-A8BB-F050B00ADD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9"/>
          <a:stretch/>
        </p:blipFill>
        <p:spPr>
          <a:xfrm>
            <a:off x="6318728" y="2761135"/>
            <a:ext cx="3739988" cy="5509374"/>
          </a:xfrm>
          <a:prstGeom prst="roundRect">
            <a:avLst/>
          </a:prstGeom>
        </p:spPr>
      </p:pic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BC9BA1F5-3083-B6A3-343E-12FF978EEBB4}"/>
              </a:ext>
            </a:extLst>
          </p:cNvPr>
          <p:cNvSpPr/>
          <p:nvPr/>
        </p:nvSpPr>
        <p:spPr>
          <a:xfrm>
            <a:off x="6264893" y="2640486"/>
            <a:ext cx="3654415" cy="611044"/>
          </a:xfrm>
          <a:prstGeom prst="roundRect">
            <a:avLst>
              <a:gd name="adj" fmla="val 43483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24" name="Прямоугольник: скругленные углы 1023">
            <a:extLst>
              <a:ext uri="{FF2B5EF4-FFF2-40B4-BE49-F238E27FC236}">
                <a16:creationId xmlns:a16="http://schemas.microsoft.com/office/drawing/2014/main" id="{69BB770E-907C-3B9C-773E-BA8AF9F7BBCB}"/>
              </a:ext>
            </a:extLst>
          </p:cNvPr>
          <p:cNvSpPr/>
          <p:nvPr/>
        </p:nvSpPr>
        <p:spPr>
          <a:xfrm>
            <a:off x="6279144" y="2711077"/>
            <a:ext cx="4027454" cy="4913174"/>
          </a:xfrm>
          <a:prstGeom prst="roundRect">
            <a:avLst>
              <a:gd name="adj" fmla="val 10020"/>
            </a:avLst>
          </a:prstGeom>
          <a:solidFill>
            <a:schemeClr val="tx1">
              <a:alpha val="19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D9FF807-A22C-FC1F-6948-86E2CADB957E}"/>
              </a:ext>
            </a:extLst>
          </p:cNvPr>
          <p:cNvSpPr txBox="1">
            <a:spLocks/>
          </p:cNvSpPr>
          <p:nvPr/>
        </p:nvSpPr>
        <p:spPr>
          <a:xfrm>
            <a:off x="351448" y="449846"/>
            <a:ext cx="12087322" cy="395612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defPPr>
              <a:defRPr lang="ru-RU"/>
            </a:defPPr>
            <a:lvl1pPr marR="0" lvl="0" indent="0" defTabSz="609585" fontAlgn="auto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j-ea"/>
                <a:cs typeface="Calibri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900" spc="-20">
                <a:solidFill>
                  <a:schemeClr val="bg1"/>
                </a:solidFill>
                <a:latin typeface="+mn-lt"/>
                <a:ea typeface="+mn-ea"/>
              </a:rPr>
              <a:t>Прививаем ответственное отношение к экологии</a:t>
            </a:r>
            <a:endParaRPr lang="en-US" sz="3900" spc="-20">
              <a:solidFill>
                <a:schemeClr val="bg1"/>
              </a:solidFill>
              <a:latin typeface="+mn-lt"/>
              <a:ea typeface="Calibri"/>
            </a:endParaRPr>
          </a:p>
        </p:txBody>
      </p:sp>
      <p:pic>
        <p:nvPicPr>
          <p:cNvPr id="11" name="Picture 17" descr="A green and blue circle with hands and leaves&#10;&#10;Description automatically generated">
            <a:extLst>
              <a:ext uri="{FF2B5EF4-FFF2-40B4-BE49-F238E27FC236}">
                <a16:creationId xmlns:a16="http://schemas.microsoft.com/office/drawing/2014/main" id="{97A34F1F-4815-4978-FC3B-EE1291CFFB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715" y="2735764"/>
            <a:ext cx="980547" cy="99012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EBF1135-32DD-9EA0-B60D-42655871404F}"/>
              </a:ext>
            </a:extLst>
          </p:cNvPr>
          <p:cNvSpPr txBox="1"/>
          <p:nvPr/>
        </p:nvSpPr>
        <p:spPr>
          <a:xfrm>
            <a:off x="1899182" y="3049678"/>
            <a:ext cx="246501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>
              <a:defRPr sz="1200">
                <a:latin typeface="Montserrat" panose="00000500000000000000" pitchFamily="2" charset="-52"/>
              </a:defRPr>
            </a:lvl1pPr>
            <a:lvl2pPr marL="0" lvl="1" algn="ctr" defTabSz="1204091" fontAlgn="base">
              <a:spcBef>
                <a:spcPct val="0"/>
              </a:spcBef>
              <a:spcAft>
                <a:spcPct val="0"/>
              </a:spcAft>
              <a:defRPr b="1">
                <a:latin typeface="Montserrat"/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Для переработанного пластика</a:t>
            </a:r>
          </a:p>
        </p:txBody>
      </p:sp>
      <p:pic>
        <p:nvPicPr>
          <p:cNvPr id="18" name="Picture 21" descr="A green circle with blue hands and leaves&#10;&#10;Description automatically generated">
            <a:extLst>
              <a:ext uri="{FF2B5EF4-FFF2-40B4-BE49-F238E27FC236}">
                <a16:creationId xmlns:a16="http://schemas.microsoft.com/office/drawing/2014/main" id="{48A658C8-016E-15FD-2207-49834305BC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715" y="3633628"/>
            <a:ext cx="980547" cy="990129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5CAE9EEB-FE92-8FBE-E3BC-18784AFF2FA5}"/>
              </a:ext>
            </a:extLst>
          </p:cNvPr>
          <p:cNvSpPr txBox="1"/>
          <p:nvPr/>
        </p:nvSpPr>
        <p:spPr>
          <a:xfrm>
            <a:off x="1899182" y="3948312"/>
            <a:ext cx="246501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>
              <a:defRPr sz="1200">
                <a:latin typeface="Montserrat" panose="00000500000000000000" pitchFamily="2" charset="-52"/>
              </a:defRPr>
            </a:lvl1pPr>
            <a:lvl2pPr marL="0" lvl="1" algn="ctr" defTabSz="1204091" fontAlgn="base">
              <a:spcBef>
                <a:spcPct val="0"/>
              </a:spcBef>
              <a:spcAft>
                <a:spcPct val="0"/>
              </a:spcAft>
              <a:defRPr b="1">
                <a:latin typeface="Montserrat"/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Для перерабатываемой упаковки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349135F-B24B-1260-8C6C-2C0B0FBB350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7044" t="30451" r="59228" b="-1"/>
          <a:stretch/>
        </p:blipFill>
        <p:spPr>
          <a:xfrm>
            <a:off x="1455200" y="4860644"/>
            <a:ext cx="598183" cy="1440506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F0690A44-2AB2-5523-27B6-449D8CD8CE1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4103" t="19892" r="40125" b="9403"/>
          <a:stretch/>
        </p:blipFill>
        <p:spPr>
          <a:xfrm>
            <a:off x="2115093" y="4843734"/>
            <a:ext cx="721823" cy="1538017"/>
          </a:xfrm>
          <a:custGeom>
            <a:avLst/>
            <a:gdLst>
              <a:gd name="connsiteX0" fmla="*/ 0 w 721823"/>
              <a:gd name="connsiteY0" fmla="*/ 0 h 1538017"/>
              <a:gd name="connsiteX1" fmla="*/ 721823 w 721823"/>
              <a:gd name="connsiteY1" fmla="*/ 0 h 1538017"/>
              <a:gd name="connsiteX2" fmla="*/ 721823 w 721823"/>
              <a:gd name="connsiteY2" fmla="*/ 1538017 h 1538017"/>
              <a:gd name="connsiteX3" fmla="*/ 0 w 721823"/>
              <a:gd name="connsiteY3" fmla="*/ 1538017 h 1538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1823" h="1538017">
                <a:moveTo>
                  <a:pt x="0" y="0"/>
                </a:moveTo>
                <a:lnTo>
                  <a:pt x="721823" y="0"/>
                </a:lnTo>
                <a:lnTo>
                  <a:pt x="721823" y="1538017"/>
                </a:lnTo>
                <a:lnTo>
                  <a:pt x="0" y="1538017"/>
                </a:lnTo>
                <a:close/>
              </a:path>
            </a:pathLst>
          </a:custGeom>
        </p:spPr>
      </p:pic>
      <p:pic>
        <p:nvPicPr>
          <p:cNvPr id="1025" name="Рисунок 1024">
            <a:extLst>
              <a:ext uri="{FF2B5EF4-FFF2-40B4-BE49-F238E27FC236}">
                <a16:creationId xmlns:a16="http://schemas.microsoft.com/office/drawing/2014/main" id="{F8C65CC2-155E-8797-0F05-20451979CEF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0092" t="5529" r="21128" b="16032"/>
          <a:stretch/>
        </p:blipFill>
        <p:spPr>
          <a:xfrm>
            <a:off x="3630937" y="4675495"/>
            <a:ext cx="859487" cy="1706256"/>
          </a:xfrm>
          <a:custGeom>
            <a:avLst/>
            <a:gdLst>
              <a:gd name="connsiteX0" fmla="*/ 0 w 859487"/>
              <a:gd name="connsiteY0" fmla="*/ 0 h 1706256"/>
              <a:gd name="connsiteX1" fmla="*/ 859487 w 859487"/>
              <a:gd name="connsiteY1" fmla="*/ 0 h 1706256"/>
              <a:gd name="connsiteX2" fmla="*/ 859487 w 859487"/>
              <a:gd name="connsiteY2" fmla="*/ 1461338 h 1706256"/>
              <a:gd name="connsiteX3" fmla="*/ 614569 w 859487"/>
              <a:gd name="connsiteY3" fmla="*/ 1706256 h 1706256"/>
              <a:gd name="connsiteX4" fmla="*/ 0 w 859487"/>
              <a:gd name="connsiteY4" fmla="*/ 1706256 h 1706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9487" h="1706256">
                <a:moveTo>
                  <a:pt x="0" y="0"/>
                </a:moveTo>
                <a:lnTo>
                  <a:pt x="859487" y="0"/>
                </a:lnTo>
                <a:lnTo>
                  <a:pt x="859487" y="1461338"/>
                </a:lnTo>
                <a:cubicBezTo>
                  <a:pt x="859487" y="1596602"/>
                  <a:pt x="749833" y="1706256"/>
                  <a:pt x="614569" y="1706256"/>
                </a:cubicBezTo>
                <a:lnTo>
                  <a:pt x="0" y="1706256"/>
                </a:lnTo>
                <a:close/>
              </a:path>
            </a:pathLst>
          </a:cu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1433A554-A523-7FA8-6184-5CEAE202C05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79971" t="22004" r="2699" b="-1"/>
          <a:stretch/>
        </p:blipFill>
        <p:spPr>
          <a:xfrm>
            <a:off x="2747563" y="4685697"/>
            <a:ext cx="755179" cy="1615453"/>
          </a:xfrm>
          <a:prstGeom prst="rect">
            <a:avLst/>
          </a:prstGeom>
        </p:spPr>
      </p:pic>
      <p:pic>
        <p:nvPicPr>
          <p:cNvPr id="1028" name="Рисунок 1027">
            <a:extLst>
              <a:ext uri="{FF2B5EF4-FFF2-40B4-BE49-F238E27FC236}">
                <a16:creationId xmlns:a16="http://schemas.microsoft.com/office/drawing/2014/main" id="{0B6186C6-3AB5-9BC0-EEE3-60061938680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404" t="5529" r="76574" b="16032"/>
          <a:stretch/>
        </p:blipFill>
        <p:spPr>
          <a:xfrm>
            <a:off x="485943" y="4675494"/>
            <a:ext cx="824706" cy="1706257"/>
          </a:xfrm>
          <a:custGeom>
            <a:avLst/>
            <a:gdLst>
              <a:gd name="connsiteX0" fmla="*/ 0 w 824706"/>
              <a:gd name="connsiteY0" fmla="*/ 0 h 1706257"/>
              <a:gd name="connsiteX1" fmla="*/ 824706 w 824706"/>
              <a:gd name="connsiteY1" fmla="*/ 0 h 1706257"/>
              <a:gd name="connsiteX2" fmla="*/ 824706 w 824706"/>
              <a:gd name="connsiteY2" fmla="*/ 1706257 h 1706257"/>
              <a:gd name="connsiteX3" fmla="*/ 243725 w 824706"/>
              <a:gd name="connsiteY3" fmla="*/ 1706257 h 1706257"/>
              <a:gd name="connsiteX4" fmla="*/ 3783 w 824706"/>
              <a:gd name="connsiteY4" fmla="*/ 1510699 h 1706257"/>
              <a:gd name="connsiteX5" fmla="*/ 0 w 824706"/>
              <a:gd name="connsiteY5" fmla="*/ 1473174 h 1706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4706" h="1706257">
                <a:moveTo>
                  <a:pt x="0" y="0"/>
                </a:moveTo>
                <a:lnTo>
                  <a:pt x="824706" y="0"/>
                </a:lnTo>
                <a:lnTo>
                  <a:pt x="824706" y="1706257"/>
                </a:lnTo>
                <a:lnTo>
                  <a:pt x="243725" y="1706257"/>
                </a:lnTo>
                <a:cubicBezTo>
                  <a:pt x="125369" y="1706257"/>
                  <a:pt x="26621" y="1622303"/>
                  <a:pt x="3783" y="1510699"/>
                </a:cubicBezTo>
                <a:lnTo>
                  <a:pt x="0" y="1473174"/>
                </a:lnTo>
                <a:close/>
              </a:path>
            </a:pathLst>
          </a:custGeom>
        </p:spPr>
      </p:pic>
      <p:sp>
        <p:nvSpPr>
          <p:cNvPr id="48" name="Прямоугольник: скругленные углы 47">
            <a:extLst>
              <a:ext uri="{FF2B5EF4-FFF2-40B4-BE49-F238E27FC236}">
                <a16:creationId xmlns:a16="http://schemas.microsoft.com/office/drawing/2014/main" id="{4CABA70A-E09C-3328-0B63-BA39B716CE0C}"/>
              </a:ext>
            </a:extLst>
          </p:cNvPr>
          <p:cNvSpPr/>
          <p:nvPr/>
        </p:nvSpPr>
        <p:spPr>
          <a:xfrm>
            <a:off x="484750" y="2064493"/>
            <a:ext cx="4308315" cy="4327154"/>
          </a:xfrm>
          <a:prstGeom prst="roundRect">
            <a:avLst>
              <a:gd name="adj" fmla="val 6976"/>
            </a:avLst>
          </a:prstGeom>
          <a:noFill/>
          <a:ln>
            <a:solidFill>
              <a:srgbClr val="FEB800"/>
            </a:solidFill>
          </a:ln>
          <a:effectLst>
            <a:outerShdw blurRad="139700" algn="ctr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1F879E07-CA2A-5E9E-D3A2-AFD44EAA223D}"/>
              </a:ext>
            </a:extLst>
          </p:cNvPr>
          <p:cNvSpPr/>
          <p:nvPr/>
        </p:nvSpPr>
        <p:spPr>
          <a:xfrm>
            <a:off x="484187" y="1920876"/>
            <a:ext cx="4556758" cy="788883"/>
          </a:xfrm>
          <a:prstGeom prst="roundRect">
            <a:avLst>
              <a:gd name="adj" fmla="val 23023"/>
            </a:avLst>
          </a:prstGeom>
          <a:solidFill>
            <a:srgbClr val="FEB800"/>
          </a:solidFill>
          <a:ln>
            <a:solidFill>
              <a:srgbClr val="FEB8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FDE7F5-4A83-43BA-4EA6-F37C09363C0C}"/>
              </a:ext>
            </a:extLst>
          </p:cNvPr>
          <p:cNvSpPr txBox="1"/>
          <p:nvPr/>
        </p:nvSpPr>
        <p:spPr>
          <a:xfrm>
            <a:off x="668715" y="2080081"/>
            <a:ext cx="4115265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2pPr marL="0" lvl="1" algn="ctr" defTabSz="1204091" fontAlgn="base">
              <a:spcBef>
                <a:spcPct val="0"/>
              </a:spcBef>
              <a:spcAft>
                <a:spcPct val="0"/>
              </a:spcAft>
              <a:defRPr b="1">
                <a:latin typeface="Montserrat"/>
              </a:defRPr>
            </a:lvl2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НОВЫЙ ЕДИНЫЙ КЛЕЙМ, ПОНЯТНЫЙ ПОТРЕБИТЕЛЯМ</a:t>
            </a:r>
          </a:p>
        </p:txBody>
      </p:sp>
      <p:pic>
        <p:nvPicPr>
          <p:cNvPr id="50" name="Рисунок 49" hidden="1">
            <a:extLst>
              <a:ext uri="{FF2B5EF4-FFF2-40B4-BE49-F238E27FC236}">
                <a16:creationId xmlns:a16="http://schemas.microsoft.com/office/drawing/2014/main" id="{E46F0B2C-6577-7C0A-76A3-60024B838D4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39" r="32403"/>
          <a:stretch/>
        </p:blipFill>
        <p:spPr>
          <a:xfrm>
            <a:off x="4200369" y="2113427"/>
            <a:ext cx="3298718" cy="6495150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8FD57215-A9C7-9303-C1C2-AAF3C53B25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1026" y="3804392"/>
            <a:ext cx="2146790" cy="1543128"/>
          </a:xfrm>
          <a:prstGeom prst="roundRect">
            <a:avLst>
              <a:gd name="adj" fmla="val 15073"/>
            </a:avLst>
          </a:prstGeom>
          <a:noFill/>
          <a:ln>
            <a:solidFill>
              <a:srgbClr val="FEB800"/>
            </a:solidFill>
          </a:ln>
          <a:effectLst>
            <a:outerShdw blurRad="114300" sx="102000" sy="102000" algn="ctr" rotWithShape="0">
              <a:prstClr val="black">
                <a:alpha val="13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2" name="Дуга 1031">
            <a:extLst>
              <a:ext uri="{FF2B5EF4-FFF2-40B4-BE49-F238E27FC236}">
                <a16:creationId xmlns:a16="http://schemas.microsoft.com/office/drawing/2014/main" id="{367274CF-B3CD-7EFD-C8C5-79EA61DC8F0A}"/>
              </a:ext>
            </a:extLst>
          </p:cNvPr>
          <p:cNvSpPr/>
          <p:nvPr/>
        </p:nvSpPr>
        <p:spPr>
          <a:xfrm rot="6616521">
            <a:off x="6163230" y="4666223"/>
            <a:ext cx="1224535" cy="1224535"/>
          </a:xfrm>
          <a:prstGeom prst="arc">
            <a:avLst>
              <a:gd name="adj1" fmla="val 15114596"/>
              <a:gd name="adj2" fmla="val 0"/>
            </a:avLst>
          </a:prstGeom>
          <a:ln w="19050">
            <a:solidFill>
              <a:srgbClr val="007BFF"/>
            </a:solidFill>
            <a:head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38443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C805D0E-7CB1-F460-5E72-55952E3418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1BFA227B-BB41-8FCF-29EC-D662AEEC8C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/>
          <a:lstStyle/>
          <a:p>
            <a:r>
              <a:rPr lang="ru-RU">
                <a:latin typeface="Calibri"/>
                <a:ea typeface="Calibri"/>
                <a:cs typeface="Calibri"/>
              </a:rPr>
              <a:t>Есть определенные барьеры</a:t>
            </a:r>
            <a:r>
              <a:rPr lang="en-US">
                <a:latin typeface="Calibri"/>
                <a:ea typeface="Calibri"/>
                <a:cs typeface="Calibri"/>
              </a:rPr>
              <a:t> </a:t>
            </a:r>
            <a:r>
              <a:rPr lang="ru-RU">
                <a:latin typeface="Calibri"/>
                <a:ea typeface="Calibri"/>
                <a:cs typeface="Calibri"/>
              </a:rPr>
              <a:t>для наращивания </a:t>
            </a:r>
            <a:r>
              <a:rPr lang="en-US">
                <a:latin typeface="Calibri"/>
                <a:ea typeface="Calibri"/>
                <a:cs typeface="Calibri"/>
              </a:rPr>
              <a:t>rPET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1953D3-2C79-3A74-D817-A40A4A880C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973" y="1585117"/>
            <a:ext cx="5962389" cy="4434215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50520" indent="-350520"/>
            <a:r>
              <a:rPr lang="ru-RU" sz="2400" dirty="0">
                <a:solidFill>
                  <a:schemeClr val="tx1"/>
                </a:solidFill>
                <a:latin typeface="+mn-lt"/>
                <a:cs typeface="Calibri"/>
              </a:rPr>
              <a:t>не все бутылки с красителями и добавками могут быть переработаны и использованы в производстве новой упаковки</a:t>
            </a:r>
            <a:endParaRPr lang="en-US" sz="2400" dirty="0">
              <a:solidFill>
                <a:schemeClr val="tx1"/>
              </a:solidFill>
              <a:latin typeface="+mn-lt"/>
              <a:ea typeface="Calibri" panose="020F0502020204030204"/>
              <a:cs typeface="Calibri"/>
            </a:endParaRPr>
          </a:p>
          <a:p>
            <a:pPr marL="0" indent="-350520"/>
            <a:r>
              <a:rPr lang="en-US" sz="2400" dirty="0" err="1">
                <a:solidFill>
                  <a:schemeClr val="tx1"/>
                </a:solidFill>
                <a:latin typeface="+mn-lt"/>
                <a:cs typeface="Calibri"/>
              </a:rPr>
              <a:t>rPET</a:t>
            </a:r>
            <a:r>
              <a:rPr lang="en-US" sz="2400" dirty="0">
                <a:solidFill>
                  <a:schemeClr val="tx1"/>
                </a:solidFill>
                <a:latin typeface="+mn-lt"/>
                <a:cs typeface="Calibri"/>
              </a:rPr>
              <a:t> – </a:t>
            </a:r>
            <a:r>
              <a:rPr lang="ru-RU" sz="2400" dirty="0">
                <a:solidFill>
                  <a:schemeClr val="tx1"/>
                </a:solidFill>
                <a:latin typeface="+mn-lt"/>
                <a:cs typeface="Calibri"/>
              </a:rPr>
              <a:t>это д</a:t>
            </a:r>
            <a:r>
              <a:rPr lang="ru-RU" sz="2400" dirty="0">
                <a:solidFill>
                  <a:schemeClr val="tx1"/>
                </a:solidFill>
                <a:effectLst/>
                <a:latin typeface="+mn-lt"/>
                <a:cs typeface="Calibri"/>
              </a:rPr>
              <a:t>орого</a:t>
            </a:r>
            <a:endParaRPr lang="en-US" sz="2400" dirty="0">
              <a:solidFill>
                <a:schemeClr val="tx1"/>
              </a:solidFill>
              <a:effectLst/>
              <a:latin typeface="+mn-lt"/>
              <a:ea typeface="Calibri" panose="020F0502020204030204"/>
              <a:cs typeface="Calibri"/>
            </a:endParaRPr>
          </a:p>
          <a:p>
            <a:pPr marL="0" indent="-350520"/>
            <a:r>
              <a:rPr lang="ru-RU" sz="2400" dirty="0">
                <a:solidFill>
                  <a:schemeClr val="tx1"/>
                </a:solidFill>
                <a:effectLst/>
                <a:latin typeface="+mn-lt"/>
                <a:cs typeface="Calibri"/>
              </a:rPr>
              <a:t>недостаток производителей и сырья на местном рынке</a:t>
            </a:r>
            <a:endParaRPr lang="en-US" sz="2400" dirty="0">
              <a:solidFill>
                <a:schemeClr val="tx1"/>
              </a:solidFill>
              <a:effectLst/>
              <a:latin typeface="+mn-lt"/>
              <a:ea typeface="Calibri" panose="020F0502020204030204"/>
              <a:cs typeface="Calibri"/>
            </a:endParaRPr>
          </a:p>
          <a:p>
            <a:pPr marL="0" indent="-350520"/>
            <a:r>
              <a:rPr lang="ru-RU" sz="2400" dirty="0">
                <a:solidFill>
                  <a:schemeClr val="tx1"/>
                </a:solidFill>
                <a:latin typeface="+mn-lt"/>
                <a:cs typeface="Calibri"/>
              </a:rPr>
              <a:t>Неразвитая культуры у потребителей по  сортировке мусора</a:t>
            </a:r>
            <a:endParaRPr lang="ru-RU" sz="2400" dirty="0">
              <a:solidFill>
                <a:schemeClr val="tx1"/>
              </a:solidFill>
              <a:latin typeface="+mn-lt"/>
              <a:ea typeface="Calibri"/>
              <a:cs typeface="Calibri"/>
            </a:endParaRPr>
          </a:p>
          <a:p>
            <a:pPr marL="350520" indent="-350520"/>
            <a:endParaRPr lang="ru-RU" sz="2400">
              <a:latin typeface="+mn-lt"/>
              <a:ea typeface="Calibri" panose="020F0502020204030204"/>
            </a:endParaRPr>
          </a:p>
          <a:p>
            <a:pPr marL="0" indent="0" algn="just">
              <a:buNone/>
            </a:pPr>
            <a:endParaRPr lang="en-RU" sz="2400">
              <a:latin typeface="+mn-lt"/>
              <a:ea typeface="Calibri" panose="020F0502020204030204"/>
            </a:endParaRPr>
          </a:p>
          <a:p>
            <a:pPr marL="350520" indent="-350520" algn="just"/>
            <a:endParaRPr lang="en-US" sz="2400">
              <a:latin typeface="+mn-lt"/>
              <a:ea typeface="Calibri" panose="020F050202020403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5C8D67-4FAC-593C-07B0-AF423ADA4513}"/>
              </a:ext>
            </a:extLst>
          </p:cNvPr>
          <p:cNvSpPr txBox="1"/>
          <p:nvPr/>
        </p:nvSpPr>
        <p:spPr>
          <a:xfrm>
            <a:off x="6663611" y="1586204"/>
            <a:ext cx="5324669" cy="415498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50520" indent="-350520">
              <a:buFont typeface="Arial,Sans-Serif"/>
              <a:buChar char="•"/>
            </a:pPr>
            <a:r>
              <a:rPr lang="ru-RU" sz="2400" dirty="0">
                <a:ea typeface="Calibri"/>
                <a:cs typeface="Calibri"/>
              </a:rPr>
              <a:t>исключение нестандартных цветов (кислотно-зеленый, черный, серебряный, золотой) </a:t>
            </a:r>
          </a:p>
          <a:p>
            <a:pPr marL="350520" indent="-350520">
              <a:buFont typeface="Arial,Sans-Serif"/>
              <a:buChar char="•"/>
            </a:pPr>
            <a:r>
              <a:rPr lang="ru-RU" sz="2400" dirty="0">
                <a:ea typeface="Calibri"/>
                <a:cs typeface="Calibri"/>
              </a:rPr>
              <a:t>Показывать преимущества для бизнеса в использовании </a:t>
            </a:r>
            <a:r>
              <a:rPr lang="ru-RU" sz="2400" dirty="0" err="1">
                <a:ea typeface="Calibri"/>
                <a:cs typeface="Calibri"/>
              </a:rPr>
              <a:t>rPET</a:t>
            </a:r>
            <a:endParaRPr lang="ru-RU" sz="2400" dirty="0">
              <a:ea typeface="Calibri"/>
              <a:cs typeface="Calibri"/>
            </a:endParaRPr>
          </a:p>
          <a:p>
            <a:pPr marL="350520" indent="-350520">
              <a:buFont typeface="Arial,Sans-Serif"/>
              <a:buChar char="•"/>
            </a:pPr>
            <a:r>
              <a:rPr lang="ru-RU" sz="2400" dirty="0">
                <a:ea typeface="Calibri"/>
                <a:cs typeface="Calibri"/>
              </a:rPr>
              <a:t>мотивация для новых производителей переработанного сырья</a:t>
            </a:r>
          </a:p>
          <a:p>
            <a:pPr marL="350520" indent="-350520">
              <a:buFont typeface="Arial,Sans-Serif"/>
              <a:buChar char="•"/>
            </a:pPr>
            <a:r>
              <a:rPr lang="ru-RU" sz="2400" dirty="0">
                <a:ea typeface="Calibri"/>
                <a:cs typeface="Calibri"/>
              </a:rPr>
              <a:t>просвещение потребителей и стимулирование к сдаче упаковки в переработку </a:t>
            </a:r>
            <a:endParaRPr lang="en-US" dirty="0"/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DDDF6B26-E692-BC31-B43C-1FBB850FD2DA}"/>
              </a:ext>
            </a:extLst>
          </p:cNvPr>
          <p:cNvSpPr/>
          <p:nvPr/>
        </p:nvSpPr>
        <p:spPr>
          <a:xfrm>
            <a:off x="6026021" y="3242388"/>
            <a:ext cx="590938" cy="373224"/>
          </a:xfrm>
          <a:prstGeom prst="rightArrow">
            <a:avLst/>
          </a:prstGeom>
          <a:solidFill>
            <a:schemeClr val="tx1"/>
          </a:solidFill>
          <a:ln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7145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230D5A-D798-4F7D-8198-B5659C0950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51945" y="2156693"/>
            <a:ext cx="4394331" cy="932688"/>
          </a:xfrm>
        </p:spPr>
        <p:txBody>
          <a:bodyPr/>
          <a:lstStyle/>
          <a:p>
            <a:r>
              <a:rPr lang="ru-RU"/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0214620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CC30121-0DEB-E921-BD21-B30559C1B2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126" y="675000"/>
            <a:ext cx="2815965" cy="5508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C3F0BAD-2854-F268-7217-07A22BA3B0C2}"/>
              </a:ext>
            </a:extLst>
          </p:cNvPr>
          <p:cNvSpPr txBox="1"/>
          <p:nvPr/>
        </p:nvSpPr>
        <p:spPr>
          <a:xfrm>
            <a:off x="3621038" y="2337915"/>
            <a:ext cx="365709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>
                <a:solidFill>
                  <a:schemeClr val="bg1"/>
                </a:solidFill>
              </a:rPr>
              <a:t>Дарья </a:t>
            </a:r>
            <a:r>
              <a:rPr lang="ru-RU" sz="2400" err="1">
                <a:solidFill>
                  <a:schemeClr val="bg1"/>
                </a:solidFill>
              </a:rPr>
              <a:t>Тебар</a:t>
            </a:r>
            <a:r>
              <a:rPr lang="ru-RU" sz="2400">
                <a:solidFill>
                  <a:schemeClr val="bg1"/>
                </a:solidFill>
              </a:rPr>
              <a:t>, Старший директор по устойчивому развитию </a:t>
            </a:r>
            <a:r>
              <a:rPr lang="en-US" sz="2400">
                <a:solidFill>
                  <a:schemeClr val="bg1"/>
                </a:solidFill>
              </a:rPr>
              <a:t>PepsiCo </a:t>
            </a:r>
            <a:r>
              <a:rPr lang="ru-RU" sz="2400">
                <a:solidFill>
                  <a:schemeClr val="bg1"/>
                </a:solidFill>
              </a:rPr>
              <a:t>Россия, Беларусь, Кавказ и Центральная Азия</a:t>
            </a:r>
            <a:endParaRPr lang="en-RU" sz="2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0039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5D45E2-0178-4F8B-9F57-2630B5A8B2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-410" y="4428704"/>
            <a:ext cx="3732857" cy="2571654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224790" indent="-224790" defTabSz="902887">
              <a:buClr>
                <a:srgbClr val="009639"/>
              </a:buClr>
              <a:defRPr/>
            </a:pPr>
            <a:r>
              <a:rPr lang="ru-RU" sz="2000">
                <a:solidFill>
                  <a:schemeClr val="tx1"/>
                </a:solidFill>
                <a:latin typeface="+mn-lt"/>
                <a:ea typeface="Calibri" panose="020F0502020204030204"/>
                <a:cs typeface="Calibri"/>
              </a:rPr>
              <a:t>Закупать </a:t>
            </a:r>
            <a:r>
              <a:rPr lang="ru-RU" sz="2000" b="1">
                <a:solidFill>
                  <a:schemeClr val="tx1"/>
                </a:solidFill>
                <a:latin typeface="+mn-lt"/>
                <a:ea typeface="Calibri" panose="020F0502020204030204"/>
                <a:cs typeface="Calibri"/>
              </a:rPr>
              <a:t>сырье </a:t>
            </a:r>
            <a:r>
              <a:rPr lang="ru-RU" sz="2000">
                <a:solidFill>
                  <a:schemeClr val="tx1"/>
                </a:solidFill>
                <a:latin typeface="+mn-lt"/>
                <a:ea typeface="Calibri" panose="020F0502020204030204"/>
                <a:cs typeface="Calibri"/>
              </a:rPr>
              <a:t>только из </a:t>
            </a:r>
            <a:r>
              <a:rPr lang="ru-RU" sz="2000" b="1">
                <a:solidFill>
                  <a:schemeClr val="tx1"/>
                </a:solidFill>
                <a:latin typeface="+mn-lt"/>
                <a:ea typeface="Calibri" panose="020F0502020204030204"/>
                <a:cs typeface="Calibri"/>
              </a:rPr>
              <a:t>ответственных</a:t>
            </a:r>
            <a:r>
              <a:rPr lang="ru-RU" sz="2000">
                <a:solidFill>
                  <a:schemeClr val="tx1"/>
                </a:solidFill>
                <a:latin typeface="+mn-lt"/>
                <a:ea typeface="Calibri" panose="020F0502020204030204"/>
                <a:cs typeface="Calibri"/>
              </a:rPr>
              <a:t> источников</a:t>
            </a:r>
          </a:p>
          <a:p>
            <a:pPr marL="224790" indent="-224790">
              <a:buClr>
                <a:srgbClr val="009639"/>
              </a:buClr>
            </a:pPr>
            <a:r>
              <a:rPr lang="ru-RU" sz="2000">
                <a:solidFill>
                  <a:schemeClr val="tx1"/>
                </a:solidFill>
                <a:latin typeface="+mn-lt"/>
                <a:ea typeface="Calibri" panose="020F0502020204030204"/>
                <a:cs typeface="Calibri"/>
              </a:rPr>
              <a:t>Внедрить </a:t>
            </a:r>
            <a:r>
              <a:rPr lang="ru-RU" sz="2000" b="1">
                <a:solidFill>
                  <a:schemeClr val="tx1"/>
                </a:solidFill>
                <a:latin typeface="+mn-lt"/>
                <a:ea typeface="Calibri" panose="020F0502020204030204"/>
                <a:cs typeface="Calibri"/>
              </a:rPr>
              <a:t>практики</a:t>
            </a:r>
            <a:r>
              <a:rPr lang="ru-RU" sz="2000">
                <a:solidFill>
                  <a:schemeClr val="tx1"/>
                </a:solidFill>
                <a:latin typeface="+mn-lt"/>
                <a:ea typeface="Calibri" panose="020F0502020204030204"/>
                <a:cs typeface="Calibri"/>
              </a:rPr>
              <a:t> </a:t>
            </a:r>
            <a:r>
              <a:rPr lang="ru-RU" sz="2000" b="1">
                <a:solidFill>
                  <a:schemeClr val="tx1"/>
                </a:solidFill>
                <a:latin typeface="+mn-lt"/>
                <a:ea typeface="Calibri" panose="020F0502020204030204"/>
                <a:cs typeface="Calibri"/>
              </a:rPr>
              <a:t>устойчивого земледелия</a:t>
            </a:r>
            <a:r>
              <a:rPr lang="ru-RU" sz="2000">
                <a:solidFill>
                  <a:schemeClr val="tx1"/>
                </a:solidFill>
                <a:latin typeface="+mn-lt"/>
                <a:ea typeface="Calibri" panose="020F0502020204030204"/>
                <a:cs typeface="Calibri"/>
              </a:rPr>
              <a:t> на 1 млн га</a:t>
            </a:r>
          </a:p>
          <a:p>
            <a:pPr marL="224790" indent="-224790">
              <a:buClr>
                <a:srgbClr val="009639"/>
              </a:buClr>
            </a:pPr>
            <a:endParaRPr lang="ru-RU" sz="2000">
              <a:solidFill>
                <a:schemeClr val="tx1"/>
              </a:solidFill>
              <a:latin typeface="+mn-lt"/>
              <a:ea typeface="Calibri" panose="020F0502020204030204"/>
            </a:endParaRPr>
          </a:p>
          <a:p>
            <a:pPr marL="233045" indent="-233045"/>
            <a:endParaRPr lang="ru-RU" sz="2000">
              <a:latin typeface="+mn-lt"/>
              <a:ea typeface="Calibri" panose="020F050202020403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4FD199-3CAF-4325-9D9F-87D206239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2070" y="341445"/>
            <a:ext cx="10515600" cy="883666"/>
          </a:xfrm>
        </p:spPr>
        <p:txBody>
          <a:bodyPr/>
          <a:lstStyle/>
          <a:p>
            <a:r>
              <a:rPr lang="en-US"/>
              <a:t>PepsiCo Positive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99C2BA-8F17-4F32-822B-81399D4B2C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75915" y="2207781"/>
            <a:ext cx="276133" cy="395567"/>
          </a:xfrm>
        </p:spPr>
        <p:txBody>
          <a:bodyPr>
            <a:normAutofit fontScale="92500" lnSpcReduction="10000"/>
          </a:bodyPr>
          <a:lstStyle/>
          <a:p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337CFA-051A-4340-8A7E-F8DD15661AB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16201" y="2207781"/>
            <a:ext cx="276133" cy="395567"/>
          </a:xfrm>
        </p:spPr>
        <p:txBody>
          <a:bodyPr>
            <a:normAutofit fontScale="92500" lnSpcReduction="10000"/>
          </a:bodyPr>
          <a:lstStyle/>
          <a:p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F00462A-9FA8-4F6B-BF51-1C0487D2698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99842" y="2207781"/>
            <a:ext cx="276133" cy="395567"/>
          </a:xfrm>
        </p:spPr>
        <p:txBody>
          <a:bodyPr>
            <a:normAutofit fontScale="92500" lnSpcReduction="10000"/>
          </a:bodyPr>
          <a:lstStyle/>
          <a:p>
            <a:endParaRPr lang="ru-R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6D76C1-7F98-40B6-BFFF-5F42F07F56A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055341" y="4096562"/>
            <a:ext cx="4029740" cy="2571654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224790" indent="-224790" defTabSz="902887">
              <a:buClr>
                <a:srgbClr val="009639"/>
              </a:buClr>
              <a:defRPr/>
            </a:pPr>
            <a:endParaRPr lang="ru-RU" sz="1900">
              <a:solidFill>
                <a:schemeClr val="tx1"/>
              </a:solidFill>
              <a:latin typeface="+mn-lt"/>
              <a:cs typeface="Calibri"/>
            </a:endParaRPr>
          </a:p>
          <a:p>
            <a:pPr marL="224790" indent="-224790" defTabSz="902887">
              <a:buClr>
                <a:srgbClr val="009639"/>
              </a:buClr>
              <a:defRPr/>
            </a:pPr>
            <a:r>
              <a:rPr lang="ru-RU" sz="1900" dirty="0">
                <a:solidFill>
                  <a:schemeClr val="tx1"/>
                </a:solidFill>
                <a:latin typeface="+mn-lt"/>
                <a:cs typeface="Calibri"/>
              </a:rPr>
              <a:t>На 40% снизить выбросы углекислого газа к 2030 году</a:t>
            </a:r>
            <a:r>
              <a:rPr lang="en-US" sz="1900" dirty="0">
                <a:solidFill>
                  <a:schemeClr val="tx1"/>
                </a:solidFill>
                <a:latin typeface="+mn-lt"/>
                <a:cs typeface="Calibri"/>
              </a:rPr>
              <a:t>;</a:t>
            </a:r>
            <a:endParaRPr lang="ru-RU" sz="1900" dirty="0">
              <a:solidFill>
                <a:schemeClr val="tx1"/>
              </a:solidFill>
              <a:latin typeface="+mn-lt"/>
              <a:ea typeface="Calibri" panose="020F0502020204030204"/>
              <a:cs typeface="Calibri"/>
            </a:endParaRPr>
          </a:p>
          <a:p>
            <a:pPr marL="224790" indent="-224790" defTabSz="902887">
              <a:lnSpc>
                <a:spcPct val="100000"/>
              </a:lnSpc>
              <a:spcBef>
                <a:spcPts val="0"/>
              </a:spcBef>
              <a:buClr>
                <a:srgbClr val="009639"/>
              </a:buClr>
              <a:defRPr/>
            </a:pPr>
            <a:r>
              <a:rPr lang="ru-RU" sz="1900" dirty="0">
                <a:solidFill>
                  <a:schemeClr val="tx1"/>
                </a:solidFill>
                <a:latin typeface="+mn-lt"/>
                <a:cs typeface="Calibri"/>
              </a:rPr>
              <a:t>Поменять </a:t>
            </a:r>
            <a:r>
              <a:rPr lang="ru-RU" sz="1900" b="1" dirty="0">
                <a:solidFill>
                  <a:schemeClr val="tx1"/>
                </a:solidFill>
                <a:latin typeface="+mn-lt"/>
                <a:cs typeface="Calibri"/>
              </a:rPr>
              <a:t>упаковку</a:t>
            </a:r>
            <a:r>
              <a:rPr lang="ru-RU" sz="1900" dirty="0">
                <a:solidFill>
                  <a:schemeClr val="tx1"/>
                </a:solidFill>
                <a:latin typeface="+mn-lt"/>
                <a:cs typeface="Calibri"/>
              </a:rPr>
              <a:t> продукции на более </a:t>
            </a:r>
            <a:r>
              <a:rPr lang="ru-RU" sz="1900" b="1" dirty="0">
                <a:solidFill>
                  <a:schemeClr val="tx1"/>
                </a:solidFill>
                <a:latin typeface="+mn-lt"/>
                <a:cs typeface="Calibri"/>
              </a:rPr>
              <a:t>экологичную</a:t>
            </a:r>
            <a:r>
              <a:rPr lang="en-US" sz="1900" dirty="0">
                <a:solidFill>
                  <a:schemeClr val="tx1"/>
                </a:solidFill>
                <a:latin typeface="+mn-lt"/>
                <a:cs typeface="Calibri"/>
              </a:rPr>
              <a:t>;</a:t>
            </a:r>
            <a:endParaRPr lang="en-US" sz="1900" dirty="0">
              <a:solidFill>
                <a:schemeClr val="tx1"/>
              </a:solidFill>
              <a:latin typeface="+mn-lt"/>
              <a:ea typeface="Calibri" panose="020F0502020204030204"/>
              <a:cs typeface="Calibri"/>
            </a:endParaRPr>
          </a:p>
          <a:p>
            <a:pPr marL="224790" indent="-224790" defTabSz="902887">
              <a:lnSpc>
                <a:spcPct val="100000"/>
              </a:lnSpc>
              <a:spcBef>
                <a:spcPts val="0"/>
              </a:spcBef>
              <a:buClr>
                <a:srgbClr val="009639"/>
              </a:buClr>
              <a:defRPr/>
            </a:pPr>
            <a:r>
              <a:rPr lang="ru-RU" sz="1900" dirty="0">
                <a:solidFill>
                  <a:schemeClr val="tx1"/>
                </a:solidFill>
                <a:latin typeface="+mn-lt"/>
                <a:cs typeface="Calibri"/>
              </a:rPr>
              <a:t>Достичь </a:t>
            </a:r>
            <a:r>
              <a:rPr lang="ru-RU" sz="1900" b="1" dirty="0">
                <a:solidFill>
                  <a:schemeClr val="tx1"/>
                </a:solidFill>
                <a:latin typeface="+mn-lt"/>
                <a:cs typeface="Calibri"/>
              </a:rPr>
              <a:t>нейтрального водопотребления</a:t>
            </a:r>
            <a:endParaRPr lang="en-US" sz="1900" b="1" dirty="0">
              <a:solidFill>
                <a:schemeClr val="tx1"/>
              </a:solidFill>
              <a:latin typeface="+mn-lt"/>
              <a:ea typeface="Calibri"/>
              <a:cs typeface="Calibri"/>
            </a:endParaRPr>
          </a:p>
          <a:p>
            <a:pPr marL="233045" indent="-233045"/>
            <a:endParaRPr lang="ru-RU" sz="1900" b="1">
              <a:latin typeface="+mn-lt"/>
              <a:ea typeface="Calibri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542ED40-3CFE-4398-96F3-49BB0A84918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09183" y="4428736"/>
            <a:ext cx="3643792" cy="2571654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224790" indent="-224790" defTabSz="902887">
              <a:lnSpc>
                <a:spcPct val="100000"/>
              </a:lnSpc>
              <a:spcBef>
                <a:spcPts val="0"/>
              </a:spcBef>
              <a:buClr>
                <a:srgbClr val="009639"/>
              </a:buClr>
              <a:defRPr/>
            </a:pPr>
            <a:r>
              <a:rPr lang="ru-RU" sz="1900" b="1">
                <a:solidFill>
                  <a:schemeClr val="tx1"/>
                </a:solidFill>
                <a:latin typeface="+mn-lt"/>
                <a:cs typeface="Calibri"/>
              </a:rPr>
              <a:t>Сократить</a:t>
            </a:r>
            <a:r>
              <a:rPr lang="ru-RU" sz="1900">
                <a:solidFill>
                  <a:schemeClr val="tx1"/>
                </a:solidFill>
                <a:latin typeface="+mn-lt"/>
                <a:cs typeface="Calibri"/>
              </a:rPr>
              <a:t> содержание </a:t>
            </a:r>
            <a:r>
              <a:rPr lang="ru-RU" sz="1900" b="1">
                <a:solidFill>
                  <a:schemeClr val="tx1"/>
                </a:solidFill>
                <a:latin typeface="+mn-lt"/>
                <a:cs typeface="Calibri"/>
              </a:rPr>
              <a:t>сахара, соли, жира</a:t>
            </a:r>
            <a:r>
              <a:rPr lang="ru-RU" sz="1900">
                <a:solidFill>
                  <a:schemeClr val="tx1"/>
                </a:solidFill>
                <a:latin typeface="+mn-lt"/>
                <a:cs typeface="Calibri"/>
              </a:rPr>
              <a:t> в</a:t>
            </a:r>
            <a:r>
              <a:rPr lang="en-US" sz="1900">
                <a:solidFill>
                  <a:schemeClr val="tx1"/>
                </a:solidFill>
                <a:latin typeface="+mn-lt"/>
                <a:cs typeface="Calibri"/>
              </a:rPr>
              <a:t> </a:t>
            </a:r>
            <a:r>
              <a:rPr lang="ru-RU" sz="1900">
                <a:solidFill>
                  <a:schemeClr val="tx1"/>
                </a:solidFill>
                <a:latin typeface="+mn-lt"/>
                <a:cs typeface="Calibri"/>
              </a:rPr>
              <a:t>продуктах</a:t>
            </a:r>
            <a:r>
              <a:rPr lang="en-US" sz="1900">
                <a:solidFill>
                  <a:schemeClr val="tx1"/>
                </a:solidFill>
                <a:latin typeface="+mn-lt"/>
                <a:cs typeface="Calibri"/>
              </a:rPr>
              <a:t>;</a:t>
            </a:r>
            <a:endParaRPr lang="ru-RU" sz="1900">
              <a:solidFill>
                <a:schemeClr val="tx1"/>
              </a:solidFill>
              <a:latin typeface="+mn-lt"/>
              <a:ea typeface="Calibri" panose="020F0502020204030204"/>
              <a:cs typeface="Calibri"/>
            </a:endParaRPr>
          </a:p>
          <a:p>
            <a:pPr marL="224790" indent="-224790" defTabSz="902887">
              <a:lnSpc>
                <a:spcPct val="100000"/>
              </a:lnSpc>
              <a:spcBef>
                <a:spcPts val="0"/>
              </a:spcBef>
              <a:buClr>
                <a:srgbClr val="009639"/>
              </a:buClr>
              <a:defRPr/>
            </a:pPr>
            <a:r>
              <a:rPr lang="ru-RU" sz="1900">
                <a:solidFill>
                  <a:schemeClr val="tx1"/>
                </a:solidFill>
                <a:latin typeface="+mn-lt"/>
                <a:cs typeface="Calibri"/>
              </a:rPr>
              <a:t>Развивать </a:t>
            </a:r>
            <a:r>
              <a:rPr lang="ru-RU" sz="1900" b="1">
                <a:solidFill>
                  <a:schemeClr val="tx1"/>
                </a:solidFill>
                <a:latin typeface="+mn-lt"/>
                <a:cs typeface="Calibri"/>
              </a:rPr>
              <a:t>культуру ответственного потребления</a:t>
            </a:r>
            <a:endParaRPr lang="en-US" sz="1900" b="1">
              <a:solidFill>
                <a:schemeClr val="tx1"/>
              </a:solidFill>
              <a:latin typeface="+mn-lt"/>
              <a:ea typeface="Calibri" panose="020F0502020204030204"/>
              <a:cs typeface="Calibri"/>
            </a:endParaRPr>
          </a:p>
          <a:p>
            <a:pPr marL="0" indent="0">
              <a:buNone/>
            </a:pPr>
            <a:endParaRPr lang="ru-RU" sz="1900">
              <a:latin typeface="+mn-lt"/>
              <a:ea typeface="Calibri"/>
            </a:endParaRPr>
          </a:p>
        </p:txBody>
      </p:sp>
      <p:pic>
        <p:nvPicPr>
          <p:cNvPr id="11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3958DE64-9905-EF68-2113-945FBAEDFDF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003" y="1515045"/>
            <a:ext cx="2033337" cy="1924958"/>
          </a:xfrm>
          <a:prstGeom prst="rect">
            <a:avLst/>
          </a:prstGeom>
        </p:spPr>
      </p:pic>
      <p:pic>
        <p:nvPicPr>
          <p:cNvPr id="12" name="Picture 14" descr="Logo, icon&#10;&#10;Description automatically generated">
            <a:extLst>
              <a:ext uri="{FF2B5EF4-FFF2-40B4-BE49-F238E27FC236}">
                <a16:creationId xmlns:a16="http://schemas.microsoft.com/office/drawing/2014/main" id="{31745AF8-4A6F-A3AC-56FB-24282EB98F8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9092" y="1495836"/>
            <a:ext cx="1891091" cy="1915060"/>
          </a:xfrm>
          <a:prstGeom prst="rect">
            <a:avLst/>
          </a:prstGeom>
        </p:spPr>
      </p:pic>
      <p:pic>
        <p:nvPicPr>
          <p:cNvPr id="13" name="Picture 16" descr="Logo, company name&#10;&#10;Description automatically generated">
            <a:extLst>
              <a:ext uri="{FF2B5EF4-FFF2-40B4-BE49-F238E27FC236}">
                <a16:creationId xmlns:a16="http://schemas.microsoft.com/office/drawing/2014/main" id="{F2EFF73E-4B66-81CA-D791-BA80C2537BC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1979" y="1508497"/>
            <a:ext cx="1934708" cy="193339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7AA6902-95AA-A929-E751-321E765F2523}"/>
              </a:ext>
            </a:extLst>
          </p:cNvPr>
          <p:cNvSpPr/>
          <p:nvPr/>
        </p:nvSpPr>
        <p:spPr>
          <a:xfrm>
            <a:off x="7776" y="3568958"/>
            <a:ext cx="4027714" cy="68424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00" b="1">
                <a:solidFill>
                  <a:srgbClr val="000000"/>
                </a:solidFill>
                <a:ea typeface="Calibri"/>
                <a:cs typeface="Calibri"/>
              </a:rPr>
              <a:t>УСТОЙЧИВОЕ ЗЕМЛЕДЕЛИЕ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E233B6-9BE8-6BD9-7067-7891775E1B1B}"/>
              </a:ext>
            </a:extLst>
          </p:cNvPr>
          <p:cNvSpPr/>
          <p:nvPr/>
        </p:nvSpPr>
        <p:spPr>
          <a:xfrm>
            <a:off x="4053162" y="3576733"/>
            <a:ext cx="4034782" cy="69202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 b="1">
                <a:solidFill>
                  <a:srgbClr val="000000"/>
                </a:solidFill>
                <a:ea typeface="Calibri"/>
                <a:cs typeface="Calibri"/>
              </a:rPr>
              <a:t>УСТОЙЧИВАЯ ЦЕПОЧКА ПОСТАВОК</a:t>
            </a:r>
            <a:endParaRPr lang="en-US" sz="20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DEC0F89-BA18-CBA5-66A3-C92484C0C7D1}"/>
              </a:ext>
            </a:extLst>
          </p:cNvPr>
          <p:cNvSpPr/>
          <p:nvPr/>
        </p:nvSpPr>
        <p:spPr>
          <a:xfrm>
            <a:off x="8109858" y="3576733"/>
            <a:ext cx="4089918" cy="68424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100" b="1">
                <a:solidFill>
                  <a:srgbClr val="000000"/>
                </a:solidFill>
                <a:ea typeface="Calibri"/>
                <a:cs typeface="Calibri"/>
              </a:rPr>
              <a:t>ПРАВИЛЬНЫЙ ВЫБОР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7130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Logo&#10;&#10;Description automatically generated">
            <a:extLst>
              <a:ext uri="{FF2B5EF4-FFF2-40B4-BE49-F238E27FC236}">
                <a16:creationId xmlns:a16="http://schemas.microsoft.com/office/drawing/2014/main" id="{2C3ECB13-9832-5858-8259-16271AF9C91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11" b="8211"/>
          <a:stretch>
            <a:fillRect/>
          </a:stretch>
        </p:blipFill>
        <p:spPr>
          <a:xfrm>
            <a:off x="9624383" y="1335220"/>
            <a:ext cx="2317354" cy="1872000"/>
          </a:xfrm>
          <a:prstGeom prst="rect">
            <a:avLst/>
          </a:prstGeom>
        </p:spPr>
      </p:pic>
      <p:sp>
        <p:nvSpPr>
          <p:cNvPr id="12" name="Title 2">
            <a:extLst>
              <a:ext uri="{FF2B5EF4-FFF2-40B4-BE49-F238E27FC236}">
                <a16:creationId xmlns:a16="http://schemas.microsoft.com/office/drawing/2014/main" id="{08D6C218-2560-1276-ACA7-F6F0B8E44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54492" y="670905"/>
            <a:ext cx="4138133" cy="664315"/>
          </a:xfrm>
        </p:spPr>
        <p:txBody>
          <a:bodyPr/>
          <a:lstStyle/>
          <a:p>
            <a:r>
              <a:rPr lang="ru-RU" sz="2800" dirty="0"/>
              <a:t>Устойчивый выбор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06482D9-9E85-E7CC-E45C-73B45B2F71CE}"/>
              </a:ext>
            </a:extLst>
          </p:cNvPr>
          <p:cNvSpPr txBox="1"/>
          <p:nvPr/>
        </p:nvSpPr>
        <p:spPr>
          <a:xfrm>
            <a:off x="276962" y="362989"/>
            <a:ext cx="721151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400" dirty="0"/>
              <a:t>Снижаем содержание добавленного сахара, насыщенных жиров и соли в нашей продукции. Предлагаем более полезные опции в нашем портфеле. Продвигаем отказ от индивидуальной упаковки продукции, развивая новые форматы потребления </a:t>
            </a:r>
            <a:endParaRPr lang="en-RU" sz="2400" dirty="0"/>
          </a:p>
        </p:txBody>
      </p:sp>
      <p:pic>
        <p:nvPicPr>
          <p:cNvPr id="1026" name="Picture 2" descr="The power of Quaker Oats">
            <a:extLst>
              <a:ext uri="{FF2B5EF4-FFF2-40B4-BE49-F238E27FC236}">
                <a16:creationId xmlns:a16="http://schemas.microsoft.com/office/drawing/2014/main" id="{BAB7D4ED-6C80-519C-F6A3-7C77205598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52" y="3362626"/>
            <a:ext cx="3001548" cy="31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odastream art">
            <a:extLst>
              <a:ext uri="{FF2B5EF4-FFF2-40B4-BE49-F238E27FC236}">
                <a16:creationId xmlns:a16="http://schemas.microsoft.com/office/drawing/2014/main" id="{3B79CC45-717F-6044-A3E7-A77989B7AC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996" y="2430000"/>
            <a:ext cx="2011050" cy="44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6" descr="A bag of potato chips&#10;&#10;Description automatically generated">
            <a:extLst>
              <a:ext uri="{FF2B5EF4-FFF2-40B4-BE49-F238E27FC236}">
                <a16:creationId xmlns:a16="http://schemas.microsoft.com/office/drawing/2014/main" id="{5C6CB4F1-EB59-5174-1AD3-1551B868424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3750" y="4221471"/>
            <a:ext cx="1827818" cy="2412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F4F2C3B-9D89-C35E-47B9-7EFEE72EB1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84244" y="4118626"/>
            <a:ext cx="638458" cy="2412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691CFFD-B089-7575-048F-85071C74FB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48825" y="4622626"/>
            <a:ext cx="758860" cy="190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10DE461-3A85-780E-75E3-7BED2DC8A7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32643" y="5324626"/>
            <a:ext cx="1224000" cy="1296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AA4B0FB-2585-B577-4AF5-76DD38B7139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64247" y="4946626"/>
            <a:ext cx="1512000" cy="15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0177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27BA9D-E4AA-0DC7-B141-FB963BE76A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2">
            <a:extLst>
              <a:ext uri="{FF2B5EF4-FFF2-40B4-BE49-F238E27FC236}">
                <a16:creationId xmlns:a16="http://schemas.microsoft.com/office/drawing/2014/main" id="{1816B7E5-E10A-58CD-A702-0DE132C93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2145" y="425938"/>
            <a:ext cx="4138133" cy="664315"/>
          </a:xfrm>
        </p:spPr>
        <p:txBody>
          <a:bodyPr/>
          <a:lstStyle/>
          <a:p>
            <a:r>
              <a:rPr lang="ru-RU" sz="2800"/>
              <a:t>Устойчивое сельское хозяйство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E97DD330-9035-F0D3-A945-917BBCB892C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8822" y="1375288"/>
            <a:ext cx="2283000" cy="2308400"/>
          </a:xfrm>
          <a:prstGeom prst="rect">
            <a:avLst/>
          </a:prstGeom>
        </p:spPr>
      </p:pic>
      <p:pic>
        <p:nvPicPr>
          <p:cNvPr id="3" name="Picture 2" descr="A group of cows grazing in a field&#10;&#10;AI-generated content may be incorrect.">
            <a:extLst>
              <a:ext uri="{FF2B5EF4-FFF2-40B4-BE49-F238E27FC236}">
                <a16:creationId xmlns:a16="http://schemas.microsoft.com/office/drawing/2014/main" id="{4AFAEE90-BF16-A1A7-7152-FE6571C0315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6836" t="136" r="-141" b="268"/>
          <a:stretch/>
        </p:blipFill>
        <p:spPr>
          <a:xfrm>
            <a:off x="-1" y="3781634"/>
            <a:ext cx="3299794" cy="2986491"/>
          </a:xfrm>
          <a:prstGeom prst="rect">
            <a:avLst/>
          </a:prstGeom>
        </p:spPr>
      </p:pic>
      <p:pic>
        <p:nvPicPr>
          <p:cNvPr id="8" name="Picture 7" descr="A irrigation system in a field&#10;&#10;AI-generated content may be incorrect.">
            <a:extLst>
              <a:ext uri="{FF2B5EF4-FFF2-40B4-BE49-F238E27FC236}">
                <a16:creationId xmlns:a16="http://schemas.microsoft.com/office/drawing/2014/main" id="{AA15BD7D-FDA9-A912-5BED-2995BC43254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0317" t="6319" r="37659" b="9842"/>
          <a:stretch/>
        </p:blipFill>
        <p:spPr>
          <a:xfrm>
            <a:off x="3301999" y="3784613"/>
            <a:ext cx="4506858" cy="298630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142CFC1-8983-50C5-411C-30748FA2F372}"/>
              </a:ext>
            </a:extLst>
          </p:cNvPr>
          <p:cNvSpPr txBox="1"/>
          <p:nvPr/>
        </p:nvSpPr>
        <p:spPr>
          <a:xfrm>
            <a:off x="385378" y="324942"/>
            <a:ext cx="7307410" cy="415498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ru-RU" sz="2200" b="1" dirty="0"/>
              <a:t>20% </a:t>
            </a:r>
            <a:r>
              <a:rPr lang="ru-RU" sz="2200" dirty="0"/>
              <a:t>поставщиков сырого молока применяют практики для снижения выбросов парниковых газов</a:t>
            </a:r>
            <a:endParaRPr lang="en-US">
              <a:ea typeface="Calibri" panose="020F0502020204030204"/>
              <a:cs typeface="Calibri" panose="020F0502020204030204"/>
            </a:endParaRPr>
          </a:p>
          <a:p>
            <a:pPr marL="342900" indent="-342900">
              <a:buFont typeface="Arial"/>
              <a:buChar char="•"/>
            </a:pPr>
            <a:endParaRPr lang="ru-RU" sz="2200" dirty="0">
              <a:ea typeface="Calibri"/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sz="2200" b="1" dirty="0">
                <a:ea typeface="Calibri"/>
                <a:cs typeface="Calibri"/>
              </a:rPr>
              <a:t>100 % </a:t>
            </a:r>
            <a:r>
              <a:rPr lang="ru-RU" sz="2200" dirty="0">
                <a:ea typeface="Calibri"/>
                <a:cs typeface="Calibri"/>
              </a:rPr>
              <a:t>поставщиков картофеля сертифицированы по программе устойчивого земледелия</a:t>
            </a:r>
          </a:p>
          <a:p>
            <a:pPr marL="342900" indent="-342900">
              <a:buFont typeface="Arial"/>
              <a:buChar char="•"/>
            </a:pPr>
            <a:endParaRPr lang="ru-RU" sz="2200" dirty="0">
              <a:ea typeface="Calibri"/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ru-RU" sz="2200" b="1" dirty="0">
                <a:ea typeface="Calibri"/>
                <a:cs typeface="Calibri"/>
              </a:rPr>
              <a:t>На </a:t>
            </a:r>
            <a:r>
              <a:rPr lang="en-US" sz="2200" b="1" dirty="0">
                <a:ea typeface="Calibri"/>
                <a:cs typeface="Calibri"/>
              </a:rPr>
              <a:t>&gt;20 </a:t>
            </a:r>
            <a:r>
              <a:rPr lang="ru-RU" sz="2200" b="1" dirty="0">
                <a:ea typeface="Calibri"/>
                <a:cs typeface="Calibri"/>
              </a:rPr>
              <a:t>тысяч га </a:t>
            </a:r>
            <a:r>
              <a:rPr lang="ru-RU" sz="2200" dirty="0">
                <a:ea typeface="Calibri"/>
                <a:cs typeface="Calibri"/>
              </a:rPr>
              <a:t>с/х земель наших поставщиков картофеля практикуют </a:t>
            </a:r>
            <a:r>
              <a:rPr lang="ru-RU" sz="2200" b="1" dirty="0">
                <a:ea typeface="Calibri"/>
                <a:cs typeface="Calibri"/>
              </a:rPr>
              <a:t>практики восстановительного земледелия</a:t>
            </a:r>
            <a:endParaRPr lang="ru-RU" sz="2200" dirty="0">
              <a:ea typeface="Calibri"/>
              <a:cs typeface="Calibri"/>
            </a:endParaRPr>
          </a:p>
          <a:p>
            <a:pPr algn="ctr"/>
            <a:endParaRPr lang="ru-RU" sz="2200" dirty="0">
              <a:ea typeface="Calibri"/>
              <a:cs typeface="Calibri"/>
            </a:endParaRPr>
          </a:p>
          <a:p>
            <a:pPr algn="ctr"/>
            <a:endParaRPr lang="ru-RU" sz="2200" dirty="0">
              <a:ea typeface="Calibri"/>
              <a:cs typeface="Calibri"/>
            </a:endParaRPr>
          </a:p>
          <a:p>
            <a:pPr algn="ctr"/>
            <a:endParaRPr lang="ru-RU" sz="2200" dirty="0">
              <a:ea typeface="Calibri"/>
              <a:cs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29A7A9-DBB8-3F0A-4866-5189DA68A74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5918" t="-1130" r="9289" b="-1554"/>
          <a:stretch/>
        </p:blipFill>
        <p:spPr>
          <a:xfrm>
            <a:off x="7354622" y="3786833"/>
            <a:ext cx="4397586" cy="3012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6974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18F92-3E55-D86A-76DB-F908B429F0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2">
            <a:extLst>
              <a:ext uri="{FF2B5EF4-FFF2-40B4-BE49-F238E27FC236}">
                <a16:creationId xmlns:a16="http://schemas.microsoft.com/office/drawing/2014/main" id="{B4BD34BF-5D39-CDDA-8EA8-DCDC35D40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55278" y="443758"/>
            <a:ext cx="4138133" cy="664315"/>
          </a:xfrm>
        </p:spPr>
        <p:txBody>
          <a:bodyPr/>
          <a:lstStyle/>
          <a:p>
            <a:r>
              <a:rPr lang="ru-RU" sz="2800"/>
              <a:t>Устойчивая цепочка поставок</a:t>
            </a: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2CA71BB0-E287-A258-CC0F-6C670062CB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7000" y="776511"/>
            <a:ext cx="2307778" cy="2307778"/>
          </a:xfrm>
          <a:prstGeom prst="rect">
            <a:avLst/>
          </a:prstGeom>
        </p:spPr>
      </p:pic>
      <p:pic>
        <p:nvPicPr>
          <p:cNvPr id="5" name="Picture 4" descr="A solar panels on a metal structure&#10;&#10;AI-generated content may be incorrect.">
            <a:extLst>
              <a:ext uri="{FF2B5EF4-FFF2-40B4-BE49-F238E27FC236}">
                <a16:creationId xmlns:a16="http://schemas.microsoft.com/office/drawing/2014/main" id="{4E39543E-C690-896E-6691-E3849DC2A1C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4084" r="-23" b="3051"/>
          <a:stretch/>
        </p:blipFill>
        <p:spPr>
          <a:xfrm>
            <a:off x="0" y="3240045"/>
            <a:ext cx="6590236" cy="3476262"/>
          </a:xfrm>
          <a:prstGeom prst="rect">
            <a:avLst/>
          </a:prstGeom>
        </p:spPr>
      </p:pic>
      <p:pic>
        <p:nvPicPr>
          <p:cNvPr id="7" name="Picture 6" descr="A person wearing a mask and gloves standing in front of a machine&#10;&#10;AI-generated content may be incorrect.">
            <a:extLst>
              <a:ext uri="{FF2B5EF4-FFF2-40B4-BE49-F238E27FC236}">
                <a16:creationId xmlns:a16="http://schemas.microsoft.com/office/drawing/2014/main" id="{E48E1B0E-647A-93E5-7A15-EC00A7501E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8025" y="3229198"/>
            <a:ext cx="5136191" cy="3495691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C0408F37-0DFE-7880-F28A-C6B2EC869A2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7374" y="267123"/>
            <a:ext cx="7749692" cy="281888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Использование альтернативных источников энергии на наших южных заводах </a:t>
            </a:r>
          </a:p>
          <a:p>
            <a:endParaRPr lang="ru-RU" sz="24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r>
              <a:rPr lang="ru-RU" sz="2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Закупка зеленых сертификатов</a:t>
            </a:r>
          </a:p>
          <a:p>
            <a:endParaRPr lang="ru-RU" sz="24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r>
              <a:rPr lang="ru-RU" sz="2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Ресурсосберегающие практики на предприятиях </a:t>
            </a:r>
            <a:r>
              <a:rPr lang="en-US" sz="2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(</a:t>
            </a:r>
            <a:r>
              <a:rPr lang="en-US" sz="2400" err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ReCon</a:t>
            </a:r>
            <a:r>
              <a:rPr lang="en-US" sz="24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)</a:t>
            </a:r>
          </a:p>
          <a:p>
            <a:pPr marL="0" indent="0">
              <a:buNone/>
            </a:pPr>
            <a:endParaRPr lang="ru-RU" sz="2000"/>
          </a:p>
          <a:p>
            <a:endParaRPr lang="en-US" sz="2000"/>
          </a:p>
          <a:p>
            <a:pPr marL="0" indent="0">
              <a:buNone/>
            </a:pPr>
            <a:r>
              <a:rPr lang="ru-RU" sz="2000" dirty="0">
                <a:latin typeface="Calibri"/>
                <a:ea typeface="Calibri"/>
                <a:cs typeface="Calibri"/>
              </a:rPr>
              <a:t> </a:t>
            </a:r>
            <a:endParaRPr lang="en-US" sz="2000" dirty="0">
              <a:latin typeface="Calibri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633421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7C19EA5C-4A93-DC0D-76B6-51485FFDD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/>
          <a:lstStyle/>
          <a:p>
            <a:r>
              <a:rPr lang="ru-RU"/>
              <a:t>Трансформация логистики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8843662-045F-802F-1F71-B96656521F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17213" y="2134571"/>
            <a:ext cx="4785465" cy="3123230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50520" indent="-350520"/>
            <a:r>
              <a:rPr lang="ru-RU" sz="2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тестирование и внедрение </a:t>
            </a:r>
            <a:r>
              <a:rPr lang="ru-RU" sz="2400" b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электрического</a:t>
            </a:r>
            <a:r>
              <a:rPr lang="ru-RU" sz="2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и беспилотного </a:t>
            </a:r>
            <a:r>
              <a:rPr lang="ru-RU" sz="2400" b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транспорта</a:t>
            </a:r>
            <a:r>
              <a:rPr lang="ru-RU" sz="2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;</a:t>
            </a:r>
            <a:endParaRPr lang="en-US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350520" indent="-350520"/>
            <a:r>
              <a:rPr lang="ru-RU" sz="2400" b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оптимизация маршрутов</a:t>
            </a:r>
            <a:r>
              <a:rPr lang="ru-RU" sz="2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грузовиков для снижения </a:t>
            </a:r>
            <a:r>
              <a:rPr lang="en-US" sz="2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CO2</a:t>
            </a:r>
            <a:r>
              <a:rPr lang="ru-RU" sz="2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;</a:t>
            </a:r>
            <a:endParaRPr lang="en-US" sz="24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350520" indent="-350520"/>
            <a:r>
              <a:rPr lang="ru-RU" sz="2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величение </a:t>
            </a:r>
            <a:r>
              <a:rPr lang="ru-RU" sz="2400" b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средней загрузки</a:t>
            </a:r>
            <a:r>
              <a:rPr lang="ru-RU" sz="2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машины +4%;</a:t>
            </a:r>
          </a:p>
          <a:p>
            <a:pPr marL="350520" indent="-350520"/>
            <a:r>
              <a:rPr lang="ru-RU" sz="2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величение использования </a:t>
            </a:r>
            <a:r>
              <a:rPr lang="ru-RU" sz="2400" b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ж/д</a:t>
            </a:r>
            <a:r>
              <a:rPr lang="ru-RU" sz="2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вагонов +2</a:t>
            </a:r>
            <a:r>
              <a:rPr lang="en-US" sz="2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%</a:t>
            </a:r>
            <a:r>
              <a:rPr lang="ru-RU" sz="2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.</a:t>
            </a:r>
            <a:endParaRPr lang="en-US" sz="24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0" indent="0">
              <a:buNone/>
            </a:pPr>
            <a:endParaRPr lang="ru-RU" sz="240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ru-RU" sz="2400">
              <a:solidFill>
                <a:schemeClr val="tx1"/>
              </a:solidFill>
            </a:endParaRPr>
          </a:p>
        </p:txBody>
      </p:sp>
      <p:pic>
        <p:nvPicPr>
          <p:cNvPr id="2" name="Без названия-2025-04-03 12 58 35(copy)">
            <a:hlinkClick r:id="" action="ppaction://media"/>
            <a:extLst>
              <a:ext uri="{FF2B5EF4-FFF2-40B4-BE49-F238E27FC236}">
                <a16:creationId xmlns:a16="http://schemas.microsoft.com/office/drawing/2014/main" id="{8363435D-F774-50CF-7A67-FCD0D86F985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290945" y="2216727"/>
            <a:ext cx="6206837" cy="3491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966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816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7A331A-60C2-1050-1A02-5FC5E9844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8ACF3A3-E6FB-9017-31E8-80619E9DD2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29308" y="198953"/>
            <a:ext cx="7775878" cy="839244"/>
          </a:xfrm>
        </p:spPr>
        <p:txBody>
          <a:bodyPr vert="horz" lIns="91440" tIns="45720" rIns="91440" bIns="45720" rtlCol="0" anchor="t">
            <a:normAutofit fontScale="92500"/>
          </a:bodyPr>
          <a:lstStyle>
            <a:defPPr>
              <a:defRPr lang="fr-FR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ru-RU" sz="37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рансформация пластиковой упаковки</a:t>
            </a:r>
            <a:endParaRPr lang="en-US" sz="37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89F1B7C-E1D3-B5DE-7836-9F0F2CC58AB5}"/>
              </a:ext>
            </a:extLst>
          </p:cNvPr>
          <p:cNvSpPr txBox="1"/>
          <p:nvPr/>
        </p:nvSpPr>
        <p:spPr>
          <a:xfrm>
            <a:off x="291187" y="874018"/>
            <a:ext cx="6488820" cy="747897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fr-FR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/>
            <a:endParaRPr lang="en-US" sz="3600" dirty="0">
              <a:solidFill>
                <a:srgbClr val="FFFFFF"/>
              </a:solidFill>
              <a:latin typeface="Calibri" panose="020F0502020204030204"/>
              <a:ea typeface="Calibri"/>
              <a:cs typeface="Calibri"/>
            </a:endParaRPr>
          </a:p>
          <a:p>
            <a:pPr defTabSz="914377"/>
            <a:r>
              <a:rPr lang="en-US" b="1" dirty="0">
                <a:solidFill>
                  <a:schemeClr val="bg1"/>
                </a:solidFill>
                <a:latin typeface="Calibri" panose="020F0502020204030204"/>
              </a:rPr>
              <a:t>202</a:t>
            </a:r>
            <a:r>
              <a:rPr lang="ru-RU" b="1" dirty="0">
                <a:solidFill>
                  <a:schemeClr val="bg1"/>
                </a:solidFill>
                <a:latin typeface="Calibri" panose="020F0502020204030204"/>
              </a:rPr>
              <a:t>2</a:t>
            </a:r>
            <a:r>
              <a:rPr lang="en-US" dirty="0">
                <a:solidFill>
                  <a:schemeClr val="bg1"/>
                </a:solidFill>
                <a:latin typeface="Calibri" panose="020F0502020204030204"/>
              </a:rPr>
              <a:t> –</a:t>
            </a:r>
            <a:r>
              <a:rPr lang="ru-RU" dirty="0">
                <a:solidFill>
                  <a:schemeClr val="bg1"/>
                </a:solidFill>
                <a:latin typeface="Calibri" panose="020F0502020204030204"/>
              </a:rPr>
              <a:t>1-ые в РФ начали делать напитки в упаковке из 100% </a:t>
            </a:r>
            <a:r>
              <a:rPr lang="en-US" dirty="0" err="1">
                <a:solidFill>
                  <a:schemeClr val="bg1"/>
                </a:solidFill>
                <a:latin typeface="Calibri" panose="020F0502020204030204"/>
              </a:rPr>
              <a:t>rPET</a:t>
            </a:r>
            <a:endParaRPr lang="ru-RU" dirty="0">
              <a:solidFill>
                <a:schemeClr val="bg1"/>
              </a:solidFill>
              <a:latin typeface="Calibri" panose="020F0502020204030204"/>
              <a:ea typeface="Calibri"/>
              <a:cs typeface="Calibri"/>
            </a:endParaRPr>
          </a:p>
          <a:p>
            <a:pPr marL="380365" indent="-380365" defTabSz="914377">
              <a:buFont typeface="Wingdings" panose="05000000000000000000" pitchFamily="2" charset="2"/>
              <a:buChar char="ü"/>
            </a:pPr>
            <a:endParaRPr lang="en-US" dirty="0">
              <a:solidFill>
                <a:schemeClr val="bg1"/>
              </a:solidFill>
              <a:latin typeface="Calibri" panose="020F0502020204030204"/>
              <a:ea typeface="Calibri"/>
              <a:cs typeface="Calibri"/>
            </a:endParaRPr>
          </a:p>
          <a:p>
            <a:pPr defTabSz="914377"/>
            <a:r>
              <a:rPr lang="ru-RU" b="1" dirty="0">
                <a:solidFill>
                  <a:schemeClr val="bg1"/>
                </a:solidFill>
              </a:rPr>
              <a:t>2023 – </a:t>
            </a:r>
            <a:r>
              <a:rPr lang="ru-RU" dirty="0">
                <a:solidFill>
                  <a:schemeClr val="bg1"/>
                </a:solidFill>
              </a:rPr>
              <a:t>1-ые в РФ в молочной категории</a:t>
            </a:r>
            <a:endParaRPr lang="ru-RU" dirty="0">
              <a:solidFill>
                <a:schemeClr val="bg1"/>
              </a:solidFill>
              <a:ea typeface="Calibri"/>
              <a:cs typeface="Calibri"/>
            </a:endParaRPr>
          </a:p>
          <a:p>
            <a:pPr defTabSz="914377"/>
            <a:endParaRPr lang="ru-RU" sz="2000" b="1" dirty="0">
              <a:solidFill>
                <a:schemeClr val="bg1"/>
              </a:solidFill>
              <a:ea typeface="Calibri"/>
              <a:cs typeface="Calibri"/>
            </a:endParaRPr>
          </a:p>
          <a:p>
            <a:pPr defTabSz="914377"/>
            <a:r>
              <a:rPr lang="ru-RU" b="1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≈</a:t>
            </a:r>
            <a:r>
              <a:rPr lang="ru-RU" b="1" dirty="0">
                <a:solidFill>
                  <a:schemeClr val="bg1"/>
                </a:solidFill>
              </a:rPr>
              <a:t>30% </a:t>
            </a:r>
            <a:r>
              <a:rPr lang="ru-RU" dirty="0">
                <a:solidFill>
                  <a:schemeClr val="bg1"/>
                </a:solidFill>
              </a:rPr>
              <a:t>всего </a:t>
            </a:r>
            <a:r>
              <a:rPr lang="en-GB" b="1" dirty="0" err="1">
                <a:solidFill>
                  <a:schemeClr val="bg1"/>
                </a:solidFill>
              </a:rPr>
              <a:t>rPET</a:t>
            </a:r>
            <a:r>
              <a:rPr lang="ru-RU" b="1" dirty="0">
                <a:solidFill>
                  <a:schemeClr val="bg1"/>
                </a:solidFill>
              </a:rPr>
              <a:t> в</a:t>
            </a:r>
            <a:r>
              <a:rPr lang="ru-RU" dirty="0">
                <a:solidFill>
                  <a:schemeClr val="bg1"/>
                </a:solidFill>
                <a:latin typeface="Calibri" panose="020F0502020204030204"/>
              </a:rPr>
              <a:t> РФ потребляется </a:t>
            </a:r>
            <a:r>
              <a:rPr lang="en-US" dirty="0" err="1">
                <a:solidFill>
                  <a:schemeClr val="bg1"/>
                </a:solidFill>
                <a:latin typeface="Calibri" panose="020F0502020204030204"/>
              </a:rPr>
              <a:t>PepsiC</a:t>
            </a:r>
            <a:r>
              <a:rPr lang="ru-RU" dirty="0">
                <a:solidFill>
                  <a:schemeClr val="bg1"/>
                </a:solidFill>
                <a:latin typeface="Calibri" panose="020F0502020204030204"/>
              </a:rPr>
              <a:t>о</a:t>
            </a:r>
            <a:endParaRPr lang="ru-RU" dirty="0">
              <a:solidFill>
                <a:schemeClr val="bg1"/>
              </a:solidFill>
              <a:latin typeface="Calibri" panose="020F0502020204030204"/>
              <a:ea typeface="Calibri"/>
              <a:cs typeface="Calibri"/>
            </a:endParaRPr>
          </a:p>
          <a:p>
            <a:pPr defTabSz="914377"/>
            <a:endParaRPr lang="ru-RU" dirty="0">
              <a:solidFill>
                <a:schemeClr val="bg1"/>
              </a:solidFill>
              <a:latin typeface="Calibri" panose="020F0502020204030204"/>
              <a:ea typeface="Calibri"/>
              <a:cs typeface="Calibri"/>
            </a:endParaRPr>
          </a:p>
          <a:p>
            <a:pPr defTabSz="914377"/>
            <a:r>
              <a:rPr lang="ru-RU" dirty="0">
                <a:solidFill>
                  <a:schemeClr val="bg1"/>
                </a:solidFill>
                <a:latin typeface="Calibri" panose="020F0502020204030204"/>
                <a:ea typeface="Calibri"/>
                <a:cs typeface="Calibri"/>
              </a:rPr>
              <a:t> В</a:t>
            </a:r>
            <a:r>
              <a:rPr lang="ru-RU" b="1" dirty="0">
                <a:solidFill>
                  <a:schemeClr val="bg1"/>
                </a:solidFill>
                <a:latin typeface="Calibri" panose="020F0502020204030204"/>
                <a:ea typeface="Calibri"/>
                <a:cs typeface="Calibri"/>
              </a:rPr>
              <a:t> 2024 сэкономили </a:t>
            </a:r>
            <a:r>
              <a:rPr lang="en-US" dirty="0">
                <a:solidFill>
                  <a:schemeClr val="bg1"/>
                </a:solidFill>
                <a:latin typeface="Calibri" panose="020F0502020204030204"/>
                <a:ea typeface="Calibri"/>
                <a:cs typeface="Calibri"/>
              </a:rPr>
              <a:t>&gt;</a:t>
            </a:r>
            <a:r>
              <a:rPr lang="ru-RU" dirty="0">
                <a:solidFill>
                  <a:schemeClr val="bg1"/>
                </a:solidFill>
                <a:latin typeface="Calibri" panose="020F0502020204030204"/>
                <a:ea typeface="Calibri"/>
                <a:cs typeface="Calibri"/>
              </a:rPr>
              <a:t> 15 тыс. тонн первичного PET</a:t>
            </a:r>
            <a:endParaRPr lang="en-US" dirty="0">
              <a:solidFill>
                <a:schemeClr val="bg1"/>
              </a:solidFill>
              <a:latin typeface="Calibri" panose="020F0502020204030204"/>
              <a:ea typeface="Calibri"/>
              <a:cs typeface="Calibri"/>
            </a:endParaRPr>
          </a:p>
          <a:p>
            <a:pPr marL="285750" indent="-285750" defTabSz="914377">
              <a:buFont typeface="Arial"/>
              <a:buChar char="•"/>
            </a:pPr>
            <a:endParaRPr lang="en-US" dirty="0">
              <a:solidFill>
                <a:schemeClr val="bg1"/>
              </a:solidFill>
              <a:latin typeface="Calibri" panose="020F0502020204030204"/>
              <a:ea typeface="Calibri"/>
              <a:cs typeface="Calibri"/>
            </a:endParaRPr>
          </a:p>
          <a:p>
            <a:pPr defTabSz="914377"/>
            <a:r>
              <a:rPr lang="ru-RU" b="1" dirty="0">
                <a:solidFill>
                  <a:schemeClr val="bg1"/>
                </a:solidFill>
                <a:latin typeface="Calibri" panose="020F0502020204030204"/>
                <a:ea typeface="Calibri"/>
                <a:cs typeface="Calibri"/>
              </a:rPr>
              <a:t>В 2025 году</a:t>
            </a:r>
            <a:r>
              <a:rPr lang="ru-RU" dirty="0">
                <a:solidFill>
                  <a:schemeClr val="bg1"/>
                </a:solidFill>
                <a:latin typeface="Calibri" panose="020F0502020204030204"/>
                <a:ea typeface="Calibri"/>
                <a:cs typeface="Calibri"/>
              </a:rPr>
              <a:t> увеличение потребления переработанного сырья до 26 тыс.</a:t>
            </a:r>
            <a:r>
              <a:rPr lang="en-US" dirty="0">
                <a:solidFill>
                  <a:schemeClr val="bg1"/>
                </a:solidFill>
                <a:latin typeface="Calibri" panose="020F0502020204030204"/>
                <a:ea typeface="Calibri"/>
                <a:cs typeface="Calibri"/>
              </a:rPr>
              <a:t> </a:t>
            </a:r>
            <a:r>
              <a:rPr lang="ru-RU" dirty="0">
                <a:solidFill>
                  <a:schemeClr val="bg1"/>
                </a:solidFill>
                <a:latin typeface="Calibri" panose="020F0502020204030204"/>
                <a:ea typeface="Calibri"/>
                <a:cs typeface="Calibri"/>
              </a:rPr>
              <a:t>тонн (</a:t>
            </a:r>
            <a:r>
              <a:rPr lang="ru-RU" b="1" dirty="0">
                <a:solidFill>
                  <a:schemeClr val="bg1"/>
                </a:solidFill>
                <a:latin typeface="Calibri" panose="020F0502020204030204"/>
                <a:ea typeface="Calibri"/>
                <a:cs typeface="Calibri"/>
              </a:rPr>
              <a:t>50%)</a:t>
            </a:r>
            <a:r>
              <a:rPr lang="ru-RU" sz="2000" dirty="0">
                <a:solidFill>
                  <a:schemeClr val="bg1"/>
                </a:solidFill>
                <a:latin typeface="Calibri" panose="020F0502020204030204"/>
                <a:ea typeface="Calibri"/>
                <a:cs typeface="Calibri"/>
              </a:rPr>
              <a:t> </a:t>
            </a:r>
            <a:endParaRPr lang="ru-RU" sz="2000" dirty="0">
              <a:solidFill>
                <a:schemeClr val="bg1"/>
              </a:solidFill>
            </a:endParaRPr>
          </a:p>
          <a:p>
            <a:pPr marL="380365" indent="-380365" defTabSz="914377">
              <a:buFont typeface="Wingdings" panose="05000000000000000000" pitchFamily="2" charset="2"/>
              <a:buChar char="ü"/>
            </a:pPr>
            <a:endParaRPr lang="en-US" dirty="0">
              <a:solidFill>
                <a:srgbClr val="FFFFFF"/>
              </a:solidFill>
              <a:latin typeface="Calibri" panose="020F0502020204030204"/>
              <a:ea typeface="Calibri"/>
              <a:cs typeface="Calibri"/>
            </a:endParaRPr>
          </a:p>
          <a:p>
            <a:endParaRPr lang="ru-RU" b="1" dirty="0">
              <a:solidFill>
                <a:srgbClr val="FFFFFF"/>
              </a:solidFill>
              <a:latin typeface="Calibri" panose="020F0502020204030204"/>
              <a:ea typeface="Calibri"/>
              <a:cs typeface="Calibri"/>
            </a:endParaRPr>
          </a:p>
          <a:p>
            <a:pPr marL="380365" indent="-380365" defTabSz="914377">
              <a:buFont typeface="Wingdings" panose="05000000000000000000" pitchFamily="2" charset="2"/>
              <a:buChar char="ü"/>
            </a:pPr>
            <a:endParaRPr lang="ru-RU" dirty="0">
              <a:solidFill>
                <a:srgbClr val="FFFFFF"/>
              </a:solidFill>
              <a:latin typeface="Calibri" panose="020F0502020204030204"/>
              <a:ea typeface="Calibri"/>
              <a:cs typeface="Calibri"/>
            </a:endParaRPr>
          </a:p>
          <a:p>
            <a:pPr marL="380365" indent="-380365" defTabSz="914377">
              <a:buFont typeface="Wingdings" panose="05000000000000000000" pitchFamily="2" charset="2"/>
              <a:buChar char="ü"/>
            </a:pPr>
            <a:endParaRPr lang="ru-RU" b="1" dirty="0">
              <a:solidFill>
                <a:srgbClr val="FFFFFF"/>
              </a:solidFill>
              <a:latin typeface="Calibri" panose="020F0502020204030204"/>
              <a:ea typeface="Calibri"/>
              <a:cs typeface="Calibri"/>
            </a:endParaRPr>
          </a:p>
          <a:p>
            <a:pPr defTabSz="914377"/>
            <a:endParaRPr lang="en-US" sz="3200" dirty="0">
              <a:solidFill>
                <a:srgbClr val="000000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defTabSz="914377"/>
            <a:endParaRPr lang="en-RU" sz="3200" dirty="0">
              <a:solidFill>
                <a:srgbClr val="000000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7924FB-7265-4CF2-E5E0-AE57CD8F2E2E}"/>
              </a:ext>
            </a:extLst>
          </p:cNvPr>
          <p:cNvSpPr/>
          <p:nvPr/>
        </p:nvSpPr>
        <p:spPr>
          <a:xfrm>
            <a:off x="6608517" y="1437237"/>
            <a:ext cx="5248367" cy="48618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3200"/>
          </a:p>
        </p:txBody>
      </p:sp>
      <p:pic>
        <p:nvPicPr>
          <p:cNvPr id="3111" name="Picture 39" descr="Кефир Домик в деревне 1%, 900мл - купить с доставкой в Москве в Перекрёстке">
            <a:extLst>
              <a:ext uri="{FF2B5EF4-FFF2-40B4-BE49-F238E27FC236}">
                <a16:creationId xmlns:a16="http://schemas.microsoft.com/office/drawing/2014/main" id="{664D7BC3-BD8D-DB17-A9BA-20D438449B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14" r="26113"/>
          <a:stretch/>
        </p:blipFill>
        <p:spPr bwMode="auto">
          <a:xfrm>
            <a:off x="6899709" y="1947298"/>
            <a:ext cx="969319" cy="2029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5DB04D5-3A98-EE5D-D8B5-9D10F9AB5FF4}"/>
              </a:ext>
            </a:extLst>
          </p:cNvPr>
          <p:cNvSpPr txBox="1"/>
          <p:nvPr/>
        </p:nvSpPr>
        <p:spPr>
          <a:xfrm>
            <a:off x="3013167" y="3190761"/>
            <a:ext cx="611922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200"/>
              <a:t> </a:t>
            </a:r>
          </a:p>
        </p:txBody>
      </p:sp>
      <p:pic>
        <p:nvPicPr>
          <p:cNvPr id="3119" name="Picture 47" descr="Frustyle (торговая марка) — Википедия">
            <a:extLst>
              <a:ext uri="{FF2B5EF4-FFF2-40B4-BE49-F238E27FC236}">
                <a16:creationId xmlns:a16="http://schemas.microsoft.com/office/drawing/2014/main" id="{73480E97-8A7C-0CDD-3DEE-1923A237DB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19" r="34329"/>
          <a:stretch/>
        </p:blipFill>
        <p:spPr bwMode="auto">
          <a:xfrm>
            <a:off x="10114842" y="1771195"/>
            <a:ext cx="720380" cy="2219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1" name="Picture 49" descr="product">
            <a:extLst>
              <a:ext uri="{FF2B5EF4-FFF2-40B4-BE49-F238E27FC236}">
                <a16:creationId xmlns:a16="http://schemas.microsoft.com/office/drawing/2014/main" id="{73FC219E-3611-9455-09C0-451E8E0CB7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24" r="28952" b="704"/>
          <a:stretch/>
        </p:blipFill>
        <p:spPr bwMode="auto">
          <a:xfrm>
            <a:off x="8031841" y="2044741"/>
            <a:ext cx="780059" cy="1897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3" name="Picture 51">
            <a:extLst>
              <a:ext uri="{FF2B5EF4-FFF2-40B4-BE49-F238E27FC236}">
                <a16:creationId xmlns:a16="http://schemas.microsoft.com/office/drawing/2014/main" id="{861D4975-5390-2DC3-582E-9B0D8B5337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25" t="29879" r="69333" b="28550"/>
          <a:stretch/>
        </p:blipFill>
        <p:spPr bwMode="auto">
          <a:xfrm>
            <a:off x="10833466" y="1944495"/>
            <a:ext cx="963633" cy="2097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5" name="Picture 53" descr="Ряженка Домик в деревне Для тебя Топленое молоко 2.5%, 260мл - купить с  доставкой в Москве в Перекрёстке">
            <a:extLst>
              <a:ext uri="{FF2B5EF4-FFF2-40B4-BE49-F238E27FC236}">
                <a16:creationId xmlns:a16="http://schemas.microsoft.com/office/drawing/2014/main" id="{4AAB997F-EFBB-81F9-A5CB-6934C71DF5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79" r="33359" b="-1077"/>
          <a:stretch/>
        </p:blipFill>
        <p:spPr bwMode="auto">
          <a:xfrm>
            <a:off x="9229939" y="2058821"/>
            <a:ext cx="581451" cy="1810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7" name="Picture 55" descr="Агуша Вода и сок &quot;яблоко&quot; 300мл купить в Симферополе, доставка по Крыму">
            <a:extLst>
              <a:ext uri="{FF2B5EF4-FFF2-40B4-BE49-F238E27FC236}">
                <a16:creationId xmlns:a16="http://schemas.microsoft.com/office/drawing/2014/main" id="{E3CF9B87-450F-B948-D0AA-334B68F679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50" r="33090" b="1151"/>
          <a:stretch/>
        </p:blipFill>
        <p:spPr bwMode="auto">
          <a:xfrm>
            <a:off x="8200166" y="4610793"/>
            <a:ext cx="509447" cy="1642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9" name="Picture 57" descr="Напиток газированный Любимая Кола, 1.5л - купить с доставкой в Москве в  Перекрёстке">
            <a:extLst>
              <a:ext uri="{FF2B5EF4-FFF2-40B4-BE49-F238E27FC236}">
                <a16:creationId xmlns:a16="http://schemas.microsoft.com/office/drawing/2014/main" id="{1C384188-5A14-0252-A03F-6E299EC8F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89" r="27851" b="1151"/>
          <a:stretch/>
        </p:blipFill>
        <p:spPr bwMode="auto">
          <a:xfrm>
            <a:off x="10162857" y="4345469"/>
            <a:ext cx="790359" cy="1857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31" name="Picture 59" descr="Холодный чай Lipton Зеленый, 1.5л - купить с доставкой в Москве в  Перекрёстке">
            <a:extLst>
              <a:ext uri="{FF2B5EF4-FFF2-40B4-BE49-F238E27FC236}">
                <a16:creationId xmlns:a16="http://schemas.microsoft.com/office/drawing/2014/main" id="{06FE2596-35B8-A4F8-7020-4F5DBEA266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5" r="30090" b="1151"/>
          <a:stretch/>
        </p:blipFill>
        <p:spPr bwMode="auto">
          <a:xfrm>
            <a:off x="7094102" y="4369219"/>
            <a:ext cx="651641" cy="1853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33" name="Picture 61" descr="Сок J7 Fresh Taste Апельсин с мякотью, 850мл">
            <a:extLst>
              <a:ext uri="{FF2B5EF4-FFF2-40B4-BE49-F238E27FC236}">
                <a16:creationId xmlns:a16="http://schemas.microsoft.com/office/drawing/2014/main" id="{AA34939E-0F37-A155-4342-02B6911654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46" t="5417" r="35447" b="3923"/>
          <a:stretch/>
        </p:blipFill>
        <p:spPr bwMode="auto">
          <a:xfrm>
            <a:off x="11013400" y="4299849"/>
            <a:ext cx="626987" cy="1952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35" name="Picture 63" descr="★★★ Йогурт «Чудо» фруктовый, со вкусом клубника-земляника, массовая доля  жира 2,4% | Товары от Роскачества">
            <a:extLst>
              <a:ext uri="{FF2B5EF4-FFF2-40B4-BE49-F238E27FC236}">
                <a16:creationId xmlns:a16="http://schemas.microsoft.com/office/drawing/2014/main" id="{C042039D-9EC3-47AD-EFBF-36A8C0B30B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46" t="6603" r="35447" b="6709"/>
          <a:stretch/>
        </p:blipFill>
        <p:spPr bwMode="auto">
          <a:xfrm>
            <a:off x="9274155" y="4610794"/>
            <a:ext cx="541661" cy="1613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7788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293732-D720-8C85-E793-BA3EB9B4FA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045804B4-F775-357E-624A-3B2A56118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/>
          <a:lstStyle/>
          <a:p>
            <a:r>
              <a:rPr lang="ru-RU" sz="3200" b="1">
                <a:solidFill>
                  <a:schemeClr val="bg1"/>
                </a:solidFill>
                <a:latin typeface="+mn-lt"/>
              </a:rPr>
              <a:t>Не только пластик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B0FA9B-4023-3CDA-0E37-9DC05B3C19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79178" y="668519"/>
            <a:ext cx="3763269" cy="2498967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endParaRPr lang="ru-RU" sz="2400">
              <a:solidFill>
                <a:schemeClr val="tx1"/>
              </a:solidFill>
              <a:latin typeface="+mn-lt"/>
              <a:ea typeface="Calibri"/>
            </a:endParaRPr>
          </a:p>
          <a:p>
            <a:pPr marL="0" indent="0">
              <a:buNone/>
            </a:pPr>
            <a:endParaRPr lang="ru-RU" sz="2400">
              <a:solidFill>
                <a:schemeClr val="tx1"/>
              </a:solidFill>
              <a:latin typeface="+mn-lt"/>
            </a:endParaRPr>
          </a:p>
          <a:p>
            <a:pPr marL="350520" indent="-350520"/>
            <a:endParaRPr lang="ru-RU" sz="2400">
              <a:solidFill>
                <a:schemeClr val="tx1"/>
              </a:solidFill>
              <a:latin typeface="+mn-lt"/>
              <a:ea typeface="Calibri" panose="020F0502020204030204"/>
            </a:endParaRPr>
          </a:p>
          <a:p>
            <a:pPr marL="0" indent="0">
              <a:buNone/>
            </a:pPr>
            <a:endParaRPr lang="ru-RU" sz="2400">
              <a:solidFill>
                <a:schemeClr val="tx1"/>
              </a:solidFill>
              <a:latin typeface="+mn-lt"/>
            </a:endParaRPr>
          </a:p>
          <a:p>
            <a:pPr marL="0" indent="0">
              <a:buNone/>
            </a:pPr>
            <a:endParaRPr lang="en-RU" sz="2400">
              <a:solidFill>
                <a:schemeClr val="tx1"/>
              </a:solidFill>
              <a:latin typeface="+mn-lt"/>
              <a:cs typeface="Calibri"/>
            </a:endParaRPr>
          </a:p>
        </p:txBody>
      </p:sp>
      <p:pic>
        <p:nvPicPr>
          <p:cNvPr id="4" name="Picture 2" descr="Adrenaline Rush">
            <a:extLst>
              <a:ext uri="{FF2B5EF4-FFF2-40B4-BE49-F238E27FC236}">
                <a16:creationId xmlns:a16="http://schemas.microsoft.com/office/drawing/2014/main" id="{677BE4CF-E799-383B-C85A-CB425AE1A6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083" y="3116987"/>
            <a:ext cx="3468913" cy="3483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A5858D-34A2-BD2B-80D3-80295E3F43DF}"/>
              </a:ext>
            </a:extLst>
          </p:cNvPr>
          <p:cNvSpPr txBox="1"/>
          <p:nvPr/>
        </p:nvSpPr>
        <p:spPr>
          <a:xfrm>
            <a:off x="324411" y="1354954"/>
            <a:ext cx="3334137" cy="15696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400" b="0" i="0" u="none" strike="noStrike" baseline="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В наших алюминиевых банках доля вторичного алюминия достигает 40-50</a:t>
            </a:r>
            <a:r>
              <a:rPr lang="ru-RU" sz="240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%</a:t>
            </a:r>
            <a:r>
              <a:rPr lang="ru-RU" sz="2400" b="0" i="0" u="none" strike="noStrike" baseline="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</a:t>
            </a:r>
            <a:endParaRPr lang="ru-RU" sz="2400" dirty="0">
              <a:ea typeface="Calibri"/>
              <a:cs typeface="Calibri"/>
            </a:endParaRPr>
          </a:p>
        </p:txBody>
      </p:sp>
      <p:pic>
        <p:nvPicPr>
          <p:cNvPr id="9" name="Picture 4" descr="Газированный напиток Evervess Пленительный апельсин 250 мл #1">
            <a:extLst>
              <a:ext uri="{FF2B5EF4-FFF2-40B4-BE49-F238E27FC236}">
                <a16:creationId xmlns:a16="http://schemas.microsoft.com/office/drawing/2014/main" id="{36C0DFF9-5028-C94B-0923-2FB748497C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4060" y="3104053"/>
            <a:ext cx="3503068" cy="3495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05008ED-5767-ED83-E2B5-91FE30A2A980}"/>
              </a:ext>
            </a:extLst>
          </p:cNvPr>
          <p:cNvSpPr txBox="1"/>
          <p:nvPr/>
        </p:nvSpPr>
        <p:spPr>
          <a:xfrm>
            <a:off x="4359896" y="1349157"/>
            <a:ext cx="3307136" cy="184665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400" dirty="0">
                <a:ea typeface="Calibri"/>
                <a:cs typeface="Calibri"/>
              </a:rPr>
              <a:t>В бутылках доля вторичного сырья  составляет около 30%</a:t>
            </a:r>
            <a:endParaRPr lang="en-US" sz="2400" dirty="0">
              <a:ea typeface="Calibri"/>
              <a:cs typeface="Calibri"/>
            </a:endParaRPr>
          </a:p>
          <a:p>
            <a:pPr algn="ctr"/>
            <a:endParaRPr lang="en-US">
              <a:ea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EE9B6B1-019B-0A46-DD5A-D135B7829C29}"/>
              </a:ext>
            </a:extLst>
          </p:cNvPr>
          <p:cNvSpPr txBox="1"/>
          <p:nvPr/>
        </p:nvSpPr>
        <p:spPr>
          <a:xfrm>
            <a:off x="8443836" y="1352545"/>
            <a:ext cx="3467377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dirty="0" err="1">
                <a:ea typeface="Calibri"/>
                <a:cs typeface="Calibri"/>
              </a:rPr>
              <a:t>Запуск</a:t>
            </a:r>
            <a:r>
              <a:rPr lang="en-US" sz="2400" dirty="0">
                <a:ea typeface="Calibri"/>
                <a:cs typeface="Calibri"/>
              </a:rPr>
              <a:t> </a:t>
            </a:r>
            <a:r>
              <a:rPr lang="en-US" sz="2400" dirty="0" err="1">
                <a:ea typeface="Calibri"/>
                <a:cs typeface="Calibri"/>
              </a:rPr>
              <a:t>перерабатываемой</a:t>
            </a:r>
            <a:r>
              <a:rPr lang="en-US" sz="2400" dirty="0">
                <a:ea typeface="Calibri"/>
                <a:cs typeface="Calibri"/>
              </a:rPr>
              <a:t> </a:t>
            </a:r>
            <a:r>
              <a:rPr lang="en-US" sz="2400" dirty="0" err="1">
                <a:ea typeface="Calibri"/>
                <a:cs typeface="Calibri"/>
              </a:rPr>
              <a:t>моно</a:t>
            </a:r>
            <a:r>
              <a:rPr lang="en-US" sz="2400" dirty="0">
                <a:ea typeface="Calibri"/>
                <a:cs typeface="Calibri"/>
              </a:rPr>
              <a:t>-pp </a:t>
            </a:r>
            <a:r>
              <a:rPr lang="en-US" sz="2400" dirty="0" err="1">
                <a:ea typeface="Calibri"/>
                <a:cs typeface="Calibri"/>
              </a:rPr>
              <a:t>гибкой</a:t>
            </a:r>
            <a:r>
              <a:rPr lang="en-US" sz="2400" dirty="0">
                <a:ea typeface="Calibri"/>
                <a:cs typeface="Calibri"/>
              </a:rPr>
              <a:t> </a:t>
            </a:r>
            <a:r>
              <a:rPr lang="en-US" sz="2400" dirty="0" err="1">
                <a:ea typeface="Calibri"/>
                <a:cs typeface="Calibri"/>
              </a:rPr>
              <a:t>пленки</a:t>
            </a:r>
          </a:p>
        </p:txBody>
      </p:sp>
      <p:pic>
        <p:nvPicPr>
          <p:cNvPr id="8" name="Picture 7" descr="A blue bag of potato chips&#10;&#10;AI-generated content may be incorrect.">
            <a:extLst>
              <a:ext uri="{FF2B5EF4-FFF2-40B4-BE49-F238E27FC236}">
                <a16:creationId xmlns:a16="http://schemas.microsoft.com/office/drawing/2014/main" id="{7D405D55-CDB6-A60E-C764-46956522F9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34463" y="3087688"/>
            <a:ext cx="2530475" cy="3489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9877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ep+updated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C041"/>
      </a:accent1>
      <a:accent2>
        <a:srgbClr val="00A651"/>
      </a:accent2>
      <a:accent3>
        <a:srgbClr val="8EDB43"/>
      </a:accent3>
      <a:accent4>
        <a:srgbClr val="FFC62C"/>
      </a:accent4>
      <a:accent5>
        <a:srgbClr val="0065E5"/>
      </a:accent5>
      <a:accent6>
        <a:srgbClr val="4FE2F3"/>
      </a:accent6>
      <a:hlink>
        <a:srgbClr val="797979"/>
      </a:hlink>
      <a:folHlink>
        <a:srgbClr val="A9A9A9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e4dd333-d5e2-4ec9-8308-d791763ee343">
      <UserInfo>
        <DisplayName/>
        <AccountId xsi:nil="true"/>
        <AccountType/>
      </UserInfo>
    </SharedWithUsers>
    <lcf76f155ced4ddcb4097134ff3c332f xmlns="bfb2b6cf-f9cf-4514-b266-966351a81842">
      <Terms xmlns="http://schemas.microsoft.com/office/infopath/2007/PartnerControls"/>
    </lcf76f155ced4ddcb4097134ff3c332f>
    <TaxCatchAll xmlns="fe4dd333-d5e2-4ec9-8308-d791763ee34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498EA68CD98C4C9B78A85FD08380BE" ma:contentTypeVersion="16" ma:contentTypeDescription="Create a new document." ma:contentTypeScope="" ma:versionID="b9701a4392a97b8516acabe7ed19ba67">
  <xsd:schema xmlns:xsd="http://www.w3.org/2001/XMLSchema" xmlns:xs="http://www.w3.org/2001/XMLSchema" xmlns:p="http://schemas.microsoft.com/office/2006/metadata/properties" xmlns:ns2="bfb2b6cf-f9cf-4514-b266-966351a81842" xmlns:ns3="fe4dd333-d5e2-4ec9-8308-d791763ee343" targetNamespace="http://schemas.microsoft.com/office/2006/metadata/properties" ma:root="true" ma:fieldsID="4433b0df0f632dd3b1a271f95c03b327" ns2:_="" ns3:_="">
    <xsd:import namespace="bfb2b6cf-f9cf-4514-b266-966351a81842"/>
    <xsd:import namespace="fe4dd333-d5e2-4ec9-8308-d791763ee3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b2b6cf-f9cf-4514-b266-966351a818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b9ae8bc6-2808-436b-8758-b62c6fb37c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4dd333-d5e2-4ec9-8308-d791763ee34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a11f0ef9-a16b-4c16-af20-955c59520040}" ma:internalName="TaxCatchAll" ma:showField="CatchAllData" ma:web="fe4dd333-d5e2-4ec9-8308-d791763ee3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4FCF79C-FF8C-40E8-BAAE-AC41127B8C3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6E741FD-624B-477A-9BF6-82CBDA985F57}">
  <ds:schemaRefs>
    <ds:schemaRef ds:uri="bfb2b6cf-f9cf-4514-b266-966351a81842"/>
    <ds:schemaRef ds:uri="fe4dd333-d5e2-4ec9-8308-d791763ee3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F71FE67-5094-4B35-923C-766129FDFA8B}">
  <ds:schemaRefs>
    <ds:schemaRef ds:uri="bfb2b6cf-f9cf-4514-b266-966351a81842"/>
    <ds:schemaRef ds:uri="fe4dd333-d5e2-4ec9-8308-d791763ee34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46</Words>
  <Application>Microsoft Macintosh PowerPoint</Application>
  <PresentationFormat>Widescreen</PresentationFormat>
  <Paragraphs>86</Paragraphs>
  <Slides>12</Slides>
  <Notes>4</Notes>
  <HiddenSlides>1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rial</vt:lpstr>
      <vt:lpstr>Arial,Sans-Serif</vt:lpstr>
      <vt:lpstr>Calibri</vt:lpstr>
      <vt:lpstr>Courier New</vt:lpstr>
      <vt:lpstr>Fibra One Light</vt:lpstr>
      <vt:lpstr>Montserrat</vt:lpstr>
      <vt:lpstr>Times New Roman</vt:lpstr>
      <vt:lpstr>Wingdings</vt:lpstr>
      <vt:lpstr>Office Theme</vt:lpstr>
      <vt:lpstr>think-cell Slide</vt:lpstr>
      <vt:lpstr>PowerPoint Presentation</vt:lpstr>
      <vt:lpstr>PowerPoint Presentation</vt:lpstr>
      <vt:lpstr>PepsiCo Positive</vt:lpstr>
      <vt:lpstr>Устойчивый выбор</vt:lpstr>
      <vt:lpstr>Устойчивое сельское хозяйство</vt:lpstr>
      <vt:lpstr>Устойчивая цепочка поставок</vt:lpstr>
      <vt:lpstr>Трансформация логистики</vt:lpstr>
      <vt:lpstr>PowerPoint Presentation</vt:lpstr>
      <vt:lpstr>Не только пластик</vt:lpstr>
      <vt:lpstr>PowerPoint Presentation</vt:lpstr>
      <vt:lpstr>Есть определенные барьеры для наращивания rPE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ndows User</dc:creator>
  <cp:lastModifiedBy>Eykhfus, Svetlana {PEP}</cp:lastModifiedBy>
  <cp:revision>467</cp:revision>
  <dcterms:created xsi:type="dcterms:W3CDTF">2020-09-30T06:22:14Z</dcterms:created>
  <dcterms:modified xsi:type="dcterms:W3CDTF">2025-04-21T15:4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498EA68CD98C4C9B78A85FD08380BE</vt:lpwstr>
  </property>
  <property fmtid="{D5CDD505-2E9C-101B-9397-08002B2CF9AE}" pid="3" name="Order">
    <vt:r8>1827600</vt:r8>
  </property>
  <property fmtid="{D5CDD505-2E9C-101B-9397-08002B2CF9AE}" pid="4" name="ComplianceAssetId">
    <vt:lpwstr/>
  </property>
  <property fmtid="{D5CDD505-2E9C-101B-9397-08002B2CF9AE}" pid="5" name="_ExtendedDescription">
    <vt:lpwstr/>
  </property>
</Properties>
</file>